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9"/>
  </p:notesMasterIdLst>
  <p:sldIdLst>
    <p:sldId id="924" r:id="rId6"/>
    <p:sldId id="942" r:id="rId7"/>
    <p:sldId id="936" r:id="rId8"/>
  </p:sldIdLst>
  <p:sldSz cx="12192000" cy="6858000"/>
  <p:notesSz cx="6858000" cy="9144000"/>
  <p:custDataLst>
    <p:tags r:id="rId10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C7C"/>
    <a:srgbClr val="2170B3"/>
    <a:srgbClr val="666666"/>
    <a:srgbClr val="FFFFFF"/>
    <a:srgbClr val="FFC000"/>
    <a:srgbClr val="FF3300"/>
    <a:srgbClr val="FF9900"/>
    <a:srgbClr val="FFDECB"/>
    <a:srgbClr val="70AD47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E8AF2C-F8E2-4E15-90F7-87AD62C555B1}" v="527" dt="2025-05-26T18:50:46.0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46F890A9-2807-4EBB-B81D-B2AA78EC7F39}" styleName="Estilo Escuro 2 - Ênfase 5/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5"/>
    <p:restoredTop sz="95890"/>
  </p:normalViewPr>
  <p:slideViewPr>
    <p:cSldViewPr snapToGrid="0">
      <p:cViewPr varScale="1">
        <p:scale>
          <a:sx n="88" d="100"/>
          <a:sy n="88" d="100"/>
        </p:scale>
        <p:origin x="414" y="150"/>
      </p:cViewPr>
      <p:guideLst/>
    </p:cSldViewPr>
  </p:slideViewPr>
  <p:outlineViewPr>
    <p:cViewPr>
      <p:scale>
        <a:sx n="33" d="100"/>
        <a:sy n="33" d="100"/>
      </p:scale>
      <p:origin x="0" y="-874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38" d="100"/>
          <a:sy n="138" d="100"/>
        </p:scale>
        <p:origin x="350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yane Do Nascimento Lima Da Sil     TERNIUM BR" userId="c4bd3f34-6561-4e9e-9ace-1737f2152246" providerId="ADAL" clId="{A4E8AF2C-F8E2-4E15-90F7-87AD62C555B1}"/>
    <pc:docChg chg="undo redo custSel addSld delSld modSld sldOrd">
      <pc:chgData name="Dayane Do Nascimento Lima Da Sil     TERNIUM BR" userId="c4bd3f34-6561-4e9e-9ace-1737f2152246" providerId="ADAL" clId="{A4E8AF2C-F8E2-4E15-90F7-87AD62C555B1}" dt="2025-05-26T18:50:53.708" v="5795" actId="47"/>
      <pc:docMkLst>
        <pc:docMk/>
      </pc:docMkLst>
      <pc:sldChg chg="del">
        <pc:chgData name="Dayane Do Nascimento Lima Da Sil     TERNIUM BR" userId="c4bd3f34-6561-4e9e-9ace-1737f2152246" providerId="ADAL" clId="{A4E8AF2C-F8E2-4E15-90F7-87AD62C555B1}" dt="2025-04-28T15:20:02.987" v="9" actId="47"/>
        <pc:sldMkLst>
          <pc:docMk/>
          <pc:sldMk cId="4220874065" sldId="925"/>
        </pc:sldMkLst>
      </pc:sldChg>
      <pc:sldChg chg="addSp delSp modSp add del mod">
        <pc:chgData name="Dayane Do Nascimento Lima Da Sil     TERNIUM BR" userId="c4bd3f34-6561-4e9e-9ace-1737f2152246" providerId="ADAL" clId="{A4E8AF2C-F8E2-4E15-90F7-87AD62C555B1}" dt="2025-04-29T15:38:50.897" v="2117" actId="47"/>
        <pc:sldMkLst>
          <pc:docMk/>
          <pc:sldMk cId="3716848017" sldId="926"/>
        </pc:sldMkLst>
      </pc:sldChg>
      <pc:sldChg chg="modSp add del mod ord setBg">
        <pc:chgData name="Dayane Do Nascimento Lima Da Sil     TERNIUM BR" userId="c4bd3f34-6561-4e9e-9ace-1737f2152246" providerId="ADAL" clId="{A4E8AF2C-F8E2-4E15-90F7-87AD62C555B1}" dt="2025-04-29T16:42:21.298" v="3190" actId="47"/>
        <pc:sldMkLst>
          <pc:docMk/>
          <pc:sldMk cId="4174814962" sldId="927"/>
        </pc:sldMkLst>
      </pc:sldChg>
      <pc:sldChg chg="add del">
        <pc:chgData name="Dayane Do Nascimento Lima Da Sil     TERNIUM BR" userId="c4bd3f34-6561-4e9e-9ace-1737f2152246" providerId="ADAL" clId="{A4E8AF2C-F8E2-4E15-90F7-87AD62C555B1}" dt="2025-04-29T15:38:49.244" v="2116" actId="47"/>
        <pc:sldMkLst>
          <pc:docMk/>
          <pc:sldMk cId="1368864739" sldId="928"/>
        </pc:sldMkLst>
      </pc:sldChg>
      <pc:sldChg chg="add del">
        <pc:chgData name="Dayane Do Nascimento Lima Da Sil     TERNIUM BR" userId="c4bd3f34-6561-4e9e-9ace-1737f2152246" providerId="ADAL" clId="{A4E8AF2C-F8E2-4E15-90F7-87AD62C555B1}" dt="2025-04-29T16:05:01.191" v="3179" actId="47"/>
        <pc:sldMkLst>
          <pc:docMk/>
          <pc:sldMk cId="3783335266" sldId="928"/>
        </pc:sldMkLst>
      </pc:sldChg>
      <pc:sldChg chg="addSp delSp modSp add del mod setBg modClrScheme chgLayout">
        <pc:chgData name="Dayane Do Nascimento Lima Da Sil     TERNIUM BR" userId="c4bd3f34-6561-4e9e-9ace-1737f2152246" providerId="ADAL" clId="{A4E8AF2C-F8E2-4E15-90F7-87AD62C555B1}" dt="2025-05-07T20:05:04.855" v="4263" actId="47"/>
        <pc:sldMkLst>
          <pc:docMk/>
          <pc:sldMk cId="4196725275" sldId="928"/>
        </pc:sldMkLst>
      </pc:sldChg>
      <pc:sldChg chg="add del">
        <pc:chgData name="Dayane Do Nascimento Lima Da Sil     TERNIUM BR" userId="c4bd3f34-6561-4e9e-9ace-1737f2152246" providerId="ADAL" clId="{A4E8AF2C-F8E2-4E15-90F7-87AD62C555B1}" dt="2025-04-29T15:38:48.339" v="2115" actId="47"/>
        <pc:sldMkLst>
          <pc:docMk/>
          <pc:sldMk cId="710400611" sldId="929"/>
        </pc:sldMkLst>
      </pc:sldChg>
      <pc:sldChg chg="addSp delSp modSp add del mod setBg modClrScheme chgLayout">
        <pc:chgData name="Dayane Do Nascimento Lima Da Sil     TERNIUM BR" userId="c4bd3f34-6561-4e9e-9ace-1737f2152246" providerId="ADAL" clId="{A4E8AF2C-F8E2-4E15-90F7-87AD62C555B1}" dt="2025-05-07T18:21:35.148" v="4109" actId="47"/>
        <pc:sldMkLst>
          <pc:docMk/>
          <pc:sldMk cId="1963347269" sldId="929"/>
        </pc:sldMkLst>
      </pc:sldChg>
      <pc:sldChg chg="add del">
        <pc:chgData name="Dayane Do Nascimento Lima Da Sil     TERNIUM BR" userId="c4bd3f34-6561-4e9e-9ace-1737f2152246" providerId="ADAL" clId="{A4E8AF2C-F8E2-4E15-90F7-87AD62C555B1}" dt="2025-04-30T20:20:46.987" v="4016" actId="47"/>
        <pc:sldMkLst>
          <pc:docMk/>
          <pc:sldMk cId="2352355056" sldId="929"/>
        </pc:sldMkLst>
      </pc:sldChg>
      <pc:sldChg chg="add del">
        <pc:chgData name="Dayane Do Nascimento Lima Da Sil     TERNIUM BR" userId="c4bd3f34-6561-4e9e-9ace-1737f2152246" providerId="ADAL" clId="{A4E8AF2C-F8E2-4E15-90F7-87AD62C555B1}" dt="2025-04-29T17:23:51.704" v="3299" actId="47"/>
        <pc:sldMkLst>
          <pc:docMk/>
          <pc:sldMk cId="2628779806" sldId="929"/>
        </pc:sldMkLst>
      </pc:sldChg>
      <pc:sldChg chg="modSp add del mod modShow">
        <pc:chgData name="Dayane Do Nascimento Lima Da Sil     TERNIUM BR" userId="c4bd3f34-6561-4e9e-9ace-1737f2152246" providerId="ADAL" clId="{A4E8AF2C-F8E2-4E15-90F7-87AD62C555B1}" dt="2025-05-25T01:42:36.368" v="5119" actId="47"/>
        <pc:sldMkLst>
          <pc:docMk/>
          <pc:sldMk cId="534451148" sldId="930"/>
        </pc:sldMkLst>
      </pc:sldChg>
      <pc:sldChg chg="add del">
        <pc:chgData name="Dayane Do Nascimento Lima Da Sil     TERNIUM BR" userId="c4bd3f34-6561-4e9e-9ace-1737f2152246" providerId="ADAL" clId="{A4E8AF2C-F8E2-4E15-90F7-87AD62C555B1}" dt="2025-04-30T20:20:45.902" v="4015" actId="47"/>
        <pc:sldMkLst>
          <pc:docMk/>
          <pc:sldMk cId="3856998173" sldId="930"/>
        </pc:sldMkLst>
      </pc:sldChg>
      <pc:sldChg chg="addSp delSp modSp add del mod ord setBg modClrScheme modShow chgLayout">
        <pc:chgData name="Dayane Do Nascimento Lima Da Sil     TERNIUM BR" userId="c4bd3f34-6561-4e9e-9ace-1737f2152246" providerId="ADAL" clId="{A4E8AF2C-F8E2-4E15-90F7-87AD62C555B1}" dt="2025-05-24T19:03:33.463" v="4305" actId="47"/>
        <pc:sldMkLst>
          <pc:docMk/>
          <pc:sldMk cId="208475686" sldId="931"/>
        </pc:sldMkLst>
      </pc:sldChg>
      <pc:sldChg chg="addSp delSp modSp add del mod">
        <pc:chgData name="Dayane Do Nascimento Lima Da Sil     TERNIUM BR" userId="c4bd3f34-6561-4e9e-9ace-1737f2152246" providerId="ADAL" clId="{A4E8AF2C-F8E2-4E15-90F7-87AD62C555B1}" dt="2025-05-07T19:42:46.686" v="4184" actId="2890"/>
        <pc:sldMkLst>
          <pc:docMk/>
          <pc:sldMk cId="403372355" sldId="931"/>
        </pc:sldMkLst>
      </pc:sldChg>
      <pc:sldChg chg="addSp delSp modSp add del mod ord modShow">
        <pc:chgData name="Dayane Do Nascimento Lima Da Sil     TERNIUM BR" userId="c4bd3f34-6561-4e9e-9ace-1737f2152246" providerId="ADAL" clId="{A4E8AF2C-F8E2-4E15-90F7-87AD62C555B1}" dt="2025-05-24T19:03:29.674" v="4304" actId="47"/>
        <pc:sldMkLst>
          <pc:docMk/>
          <pc:sldMk cId="2610479385" sldId="932"/>
        </pc:sldMkLst>
      </pc:sldChg>
      <pc:sldChg chg="modSp add del mod ord modShow">
        <pc:chgData name="Dayane Do Nascimento Lima Da Sil     TERNIUM BR" userId="c4bd3f34-6561-4e9e-9ace-1737f2152246" providerId="ADAL" clId="{A4E8AF2C-F8E2-4E15-90F7-87AD62C555B1}" dt="2025-05-26T14:08:21.145" v="5717" actId="47"/>
        <pc:sldMkLst>
          <pc:docMk/>
          <pc:sldMk cId="680661305" sldId="933"/>
        </pc:sldMkLst>
      </pc:sldChg>
      <pc:sldChg chg="addSp delSp modSp add del mod ord">
        <pc:chgData name="Dayane Do Nascimento Lima Da Sil     TERNIUM BR" userId="c4bd3f34-6561-4e9e-9ace-1737f2152246" providerId="ADAL" clId="{A4E8AF2C-F8E2-4E15-90F7-87AD62C555B1}" dt="2025-05-24T19:03:34.196" v="4306" actId="47"/>
        <pc:sldMkLst>
          <pc:docMk/>
          <pc:sldMk cId="2045624610" sldId="934"/>
        </pc:sldMkLst>
      </pc:sldChg>
      <pc:sldChg chg="addSp delSp modSp add del mod ord modShow">
        <pc:chgData name="Dayane Do Nascimento Lima Da Sil     TERNIUM BR" userId="c4bd3f34-6561-4e9e-9ace-1737f2152246" providerId="ADAL" clId="{A4E8AF2C-F8E2-4E15-90F7-87AD62C555B1}" dt="2025-05-26T14:08:25.324" v="5718" actId="47"/>
        <pc:sldMkLst>
          <pc:docMk/>
          <pc:sldMk cId="125839120" sldId="935"/>
        </pc:sldMkLst>
      </pc:sldChg>
      <pc:sldChg chg="modSp add mod ord">
        <pc:chgData name="Dayane Do Nascimento Lima Da Sil     TERNIUM BR" userId="c4bd3f34-6561-4e9e-9ace-1737f2152246" providerId="ADAL" clId="{A4E8AF2C-F8E2-4E15-90F7-87AD62C555B1}" dt="2025-05-25T01:47:21.643" v="5161"/>
        <pc:sldMkLst>
          <pc:docMk/>
          <pc:sldMk cId="814276797" sldId="936"/>
        </pc:sldMkLst>
        <pc:graphicFrameChg chg="mod modGraphic">
          <ac:chgData name="Dayane Do Nascimento Lima Da Sil     TERNIUM BR" userId="c4bd3f34-6561-4e9e-9ace-1737f2152246" providerId="ADAL" clId="{A4E8AF2C-F8E2-4E15-90F7-87AD62C555B1}" dt="2025-05-25T01:45:03.290" v="5159" actId="255"/>
          <ac:graphicFrameMkLst>
            <pc:docMk/>
            <pc:sldMk cId="814276797" sldId="936"/>
            <ac:graphicFrameMk id="3" creationId="{5EDE6EC0-981A-CCAA-FED4-EE3BF6826777}"/>
          </ac:graphicFrameMkLst>
        </pc:graphicFrameChg>
      </pc:sldChg>
      <pc:sldChg chg="addSp delSp modSp add del mod">
        <pc:chgData name="Dayane Do Nascimento Lima Da Sil     TERNIUM BR" userId="c4bd3f34-6561-4e9e-9ace-1737f2152246" providerId="ADAL" clId="{A4E8AF2C-F8E2-4E15-90F7-87AD62C555B1}" dt="2025-05-25T13:35:24.329" v="5381" actId="47"/>
        <pc:sldMkLst>
          <pc:docMk/>
          <pc:sldMk cId="4283413392" sldId="937"/>
        </pc:sldMkLst>
        <pc:picChg chg="del">
          <ac:chgData name="Dayane Do Nascimento Lima Da Sil     TERNIUM BR" userId="c4bd3f34-6561-4e9e-9ace-1737f2152246" providerId="ADAL" clId="{A4E8AF2C-F8E2-4E15-90F7-87AD62C555B1}" dt="2025-05-25T02:34:24.392" v="5166" actId="478"/>
          <ac:picMkLst>
            <pc:docMk/>
            <pc:sldMk cId="4283413392" sldId="937"/>
            <ac:picMk id="3" creationId="{2FF14911-25EF-906F-D1F9-3406C2B5BC63}"/>
          </ac:picMkLst>
        </pc:picChg>
        <pc:picChg chg="add mod">
          <ac:chgData name="Dayane Do Nascimento Lima Da Sil     TERNIUM BR" userId="c4bd3f34-6561-4e9e-9ace-1737f2152246" providerId="ADAL" clId="{A4E8AF2C-F8E2-4E15-90F7-87AD62C555B1}" dt="2025-05-25T02:34:50.813" v="5250" actId="1076"/>
          <ac:picMkLst>
            <pc:docMk/>
            <pc:sldMk cId="4283413392" sldId="937"/>
            <ac:picMk id="1026" creationId="{60E3C40E-BC5D-E9B2-D2E8-647B9CEDE36A}"/>
          </ac:picMkLst>
        </pc:picChg>
      </pc:sldChg>
      <pc:sldChg chg="addSp delSp modSp add del">
        <pc:chgData name="Dayane Do Nascimento Lima Da Sil     TERNIUM BR" userId="c4bd3f34-6561-4e9e-9ace-1737f2152246" providerId="ADAL" clId="{A4E8AF2C-F8E2-4E15-90F7-87AD62C555B1}" dt="2025-05-26T14:08:19.353" v="5716" actId="47"/>
        <pc:sldMkLst>
          <pc:docMk/>
          <pc:sldMk cId="1659674671" sldId="938"/>
        </pc:sldMkLst>
        <pc:picChg chg="del">
          <ac:chgData name="Dayane Do Nascimento Lima Da Sil     TERNIUM BR" userId="c4bd3f34-6561-4e9e-9ace-1737f2152246" providerId="ADAL" clId="{A4E8AF2C-F8E2-4E15-90F7-87AD62C555B1}" dt="2025-05-25T02:37:01.107" v="5252" actId="478"/>
          <ac:picMkLst>
            <pc:docMk/>
            <pc:sldMk cId="1659674671" sldId="938"/>
            <ac:picMk id="1026" creationId="{1391A8E2-E389-91FC-285B-A5C4249A2DB9}"/>
          </ac:picMkLst>
        </pc:picChg>
        <pc:picChg chg="add mod">
          <ac:chgData name="Dayane Do Nascimento Lima Da Sil     TERNIUM BR" userId="c4bd3f34-6561-4e9e-9ace-1737f2152246" providerId="ADAL" clId="{A4E8AF2C-F8E2-4E15-90F7-87AD62C555B1}" dt="2025-05-25T02:38:13.705" v="5380" actId="1076"/>
          <ac:picMkLst>
            <pc:docMk/>
            <pc:sldMk cId="1659674671" sldId="938"/>
            <ac:picMk id="2050" creationId="{4C805EED-7657-8C41-011E-20F3BF596B6C}"/>
          </ac:picMkLst>
        </pc:picChg>
      </pc:sldChg>
      <pc:sldChg chg="addSp delSp modSp add del mod modShow">
        <pc:chgData name="Dayane Do Nascimento Lima Da Sil     TERNIUM BR" userId="c4bd3f34-6561-4e9e-9ace-1737f2152246" providerId="ADAL" clId="{A4E8AF2C-F8E2-4E15-90F7-87AD62C555B1}" dt="2025-05-26T14:16:53.996" v="5722" actId="47"/>
        <pc:sldMkLst>
          <pc:docMk/>
          <pc:sldMk cId="1879240632" sldId="939"/>
        </pc:sldMkLst>
        <pc:picChg chg="del">
          <ac:chgData name="Dayane Do Nascimento Lima Da Sil     TERNIUM BR" userId="c4bd3f34-6561-4e9e-9ace-1737f2152246" providerId="ADAL" clId="{A4E8AF2C-F8E2-4E15-90F7-87AD62C555B1}" dt="2025-05-25T13:35:33.063" v="5383" actId="478"/>
          <ac:picMkLst>
            <pc:docMk/>
            <pc:sldMk cId="1879240632" sldId="939"/>
            <ac:picMk id="3" creationId="{9DC93196-CF78-1882-AD2C-D0433044D596}"/>
          </ac:picMkLst>
        </pc:picChg>
        <pc:picChg chg="add del mod">
          <ac:chgData name="Dayane Do Nascimento Lima Da Sil     TERNIUM BR" userId="c4bd3f34-6561-4e9e-9ace-1737f2152246" providerId="ADAL" clId="{A4E8AF2C-F8E2-4E15-90F7-87AD62C555B1}" dt="2025-05-26T14:08:54.240" v="5721" actId="478"/>
          <ac:picMkLst>
            <pc:docMk/>
            <pc:sldMk cId="1879240632" sldId="939"/>
            <ac:picMk id="3074" creationId="{B3E1595C-959B-DF35-8481-7F18225C606C}"/>
          </ac:picMkLst>
        </pc:picChg>
      </pc:sldChg>
      <pc:sldChg chg="addSp delSp modSp add del mod ord setBg">
        <pc:chgData name="Dayane Do Nascimento Lima Da Sil     TERNIUM BR" userId="c4bd3f34-6561-4e9e-9ace-1737f2152246" providerId="ADAL" clId="{A4E8AF2C-F8E2-4E15-90F7-87AD62C555B1}" dt="2025-05-26T14:08:51.620" v="5720" actId="47"/>
        <pc:sldMkLst>
          <pc:docMk/>
          <pc:sldMk cId="3948333401" sldId="940"/>
        </pc:sldMkLst>
        <pc:spChg chg="add">
          <ac:chgData name="Dayane Do Nascimento Lima Da Sil     TERNIUM BR" userId="c4bd3f34-6561-4e9e-9ace-1737f2152246" providerId="ADAL" clId="{A4E8AF2C-F8E2-4E15-90F7-87AD62C555B1}" dt="2025-05-26T13:59:14.529" v="5653"/>
          <ac:spMkLst>
            <pc:docMk/>
            <pc:sldMk cId="3948333401" sldId="940"/>
            <ac:spMk id="7" creationId="{CCDFC9FF-68E3-4BFC-CF76-25240D0B9C8F}"/>
          </ac:spMkLst>
        </pc:spChg>
        <pc:picChg chg="add del">
          <ac:chgData name="Dayane Do Nascimento Lima Da Sil     TERNIUM BR" userId="c4bd3f34-6561-4e9e-9ace-1737f2152246" providerId="ADAL" clId="{A4E8AF2C-F8E2-4E15-90F7-87AD62C555B1}" dt="2025-05-26T13:44:15.473" v="5557" actId="478"/>
          <ac:picMkLst>
            <pc:docMk/>
            <pc:sldMk cId="3948333401" sldId="940"/>
            <ac:picMk id="2" creationId="{21CF69F3-C6DF-E9FA-39B1-65C6E7939F12}"/>
          </ac:picMkLst>
        </pc:picChg>
        <pc:picChg chg="add del mod">
          <ac:chgData name="Dayane Do Nascimento Lima Da Sil     TERNIUM BR" userId="c4bd3f34-6561-4e9e-9ace-1737f2152246" providerId="ADAL" clId="{A4E8AF2C-F8E2-4E15-90F7-87AD62C555B1}" dt="2025-05-26T13:51:29.661" v="5558" actId="478"/>
          <ac:picMkLst>
            <pc:docMk/>
            <pc:sldMk cId="3948333401" sldId="940"/>
            <ac:picMk id="4" creationId="{8AB199DD-0194-50B8-FEA5-BBB210376FD0}"/>
          </ac:picMkLst>
        </pc:picChg>
        <pc:picChg chg="add del mod">
          <ac:chgData name="Dayane Do Nascimento Lima Da Sil     TERNIUM BR" userId="c4bd3f34-6561-4e9e-9ace-1737f2152246" providerId="ADAL" clId="{A4E8AF2C-F8E2-4E15-90F7-87AD62C555B1}" dt="2025-05-26T13:59:13.692" v="5652" actId="478"/>
          <ac:picMkLst>
            <pc:docMk/>
            <pc:sldMk cId="3948333401" sldId="940"/>
            <ac:picMk id="6" creationId="{574BAB0A-4252-067D-8DDC-BF65D8F21091}"/>
          </ac:picMkLst>
        </pc:picChg>
        <pc:picChg chg="add mod">
          <ac:chgData name="Dayane Do Nascimento Lima Da Sil     TERNIUM BR" userId="c4bd3f34-6561-4e9e-9ace-1737f2152246" providerId="ADAL" clId="{A4E8AF2C-F8E2-4E15-90F7-87AD62C555B1}" dt="2025-05-26T13:59:51.081" v="5713" actId="1076"/>
          <ac:picMkLst>
            <pc:docMk/>
            <pc:sldMk cId="3948333401" sldId="940"/>
            <ac:picMk id="9" creationId="{35D63322-ABDA-4C0E-BFC0-395DB84D59AB}"/>
          </ac:picMkLst>
        </pc:picChg>
        <pc:picChg chg="del">
          <ac:chgData name="Dayane Do Nascimento Lima Da Sil     TERNIUM BR" userId="c4bd3f34-6561-4e9e-9ace-1737f2152246" providerId="ADAL" clId="{A4E8AF2C-F8E2-4E15-90F7-87AD62C555B1}" dt="2025-05-26T13:42:29.345" v="5501" actId="478"/>
          <ac:picMkLst>
            <pc:docMk/>
            <pc:sldMk cId="3948333401" sldId="940"/>
            <ac:picMk id="3074" creationId="{799FDD70-2F37-E748-3F46-752E12EF8DE6}"/>
          </ac:picMkLst>
        </pc:picChg>
        <pc:picChg chg="add del">
          <ac:chgData name="Dayane Do Nascimento Lima Da Sil     TERNIUM BR" userId="c4bd3f34-6561-4e9e-9ace-1737f2152246" providerId="ADAL" clId="{A4E8AF2C-F8E2-4E15-90F7-87AD62C555B1}" dt="2025-05-26T13:51:33.392" v="5560" actId="21"/>
          <ac:picMkLst>
            <pc:docMk/>
            <pc:sldMk cId="3948333401" sldId="940"/>
            <ac:picMk id="4098" creationId="{9D8E12A5-4235-39E3-F562-5E7163B3134A}"/>
          </ac:picMkLst>
        </pc:picChg>
      </pc:sldChg>
      <pc:sldChg chg="add del">
        <pc:chgData name="Dayane Do Nascimento Lima Da Sil     TERNIUM BR" userId="c4bd3f34-6561-4e9e-9ace-1737f2152246" providerId="ADAL" clId="{A4E8AF2C-F8E2-4E15-90F7-87AD62C555B1}" dt="2025-05-26T18:50:53.708" v="5795" actId="47"/>
        <pc:sldMkLst>
          <pc:docMk/>
          <pc:sldMk cId="1782406330" sldId="941"/>
        </pc:sldMkLst>
      </pc:sldChg>
      <pc:sldChg chg="addSp delSp modSp add">
        <pc:chgData name="Dayane Do Nascimento Lima Da Sil     TERNIUM BR" userId="c4bd3f34-6561-4e9e-9ace-1737f2152246" providerId="ADAL" clId="{A4E8AF2C-F8E2-4E15-90F7-87AD62C555B1}" dt="2025-05-26T18:50:46.098" v="5794" actId="1076"/>
        <pc:sldMkLst>
          <pc:docMk/>
          <pc:sldMk cId="2553949437" sldId="942"/>
        </pc:sldMkLst>
        <pc:picChg chg="del">
          <ac:chgData name="Dayane Do Nascimento Lima Da Sil     TERNIUM BR" userId="c4bd3f34-6561-4e9e-9ace-1737f2152246" providerId="ADAL" clId="{A4E8AF2C-F8E2-4E15-90F7-87AD62C555B1}" dt="2025-05-26T18:49:50.317" v="5724" actId="478"/>
          <ac:picMkLst>
            <pc:docMk/>
            <pc:sldMk cId="2553949437" sldId="942"/>
            <ac:picMk id="3074" creationId="{66E93CB9-F960-028F-CC8D-6115214557D2}"/>
          </ac:picMkLst>
        </pc:picChg>
        <pc:picChg chg="add mod">
          <ac:chgData name="Dayane Do Nascimento Lima Da Sil     TERNIUM BR" userId="c4bd3f34-6561-4e9e-9ace-1737f2152246" providerId="ADAL" clId="{A4E8AF2C-F8E2-4E15-90F7-87AD62C555B1}" dt="2025-05-26T18:50:46.098" v="5794" actId="1076"/>
          <ac:picMkLst>
            <pc:docMk/>
            <pc:sldMk cId="2553949437" sldId="942"/>
            <ac:picMk id="5122" creationId="{CBFB8D4D-9B55-FD82-3F49-40F7407FDBD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C798C5-6817-384D-B809-404B78704AD9}" type="datetimeFigureOut">
              <a:rPr lang="x-none" smtClean="0"/>
              <a:t>27/05/2025</a:t>
            </a:fld>
            <a:endParaRPr lang="x-non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x-non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B5E32F-A48E-0C4A-B4B8-37DA576E0037}" type="slidenum">
              <a:rPr lang="x-none" smtClean="0"/>
              <a:t>‹nº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98316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96A5919-6D0B-264F-86CC-C315EF8BD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xmlns="" id="{95DF1B0A-FB74-5720-625C-C9094FC9E6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xmlns="" id="{30944599-2E47-0FF8-C970-5C66F82107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BE683525-8742-6CDA-49A4-C656968B7F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B5E32F-A48E-0C4A-B4B8-37DA576E0037}" type="slidenum">
              <a:rPr lang="x-none" smtClean="0"/>
              <a:t>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53787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>
            <a:extLst>
              <a:ext uri="{FF2B5EF4-FFF2-40B4-BE49-F238E27FC236}">
                <a16:creationId xmlns:a16="http://schemas.microsoft.com/office/drawing/2014/main" xmlns="" id="{9000B2A2-9DEE-58EC-B079-6B11EFED52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878"/>
            <a:ext cx="12244762" cy="6885878"/>
          </a:xfrm>
          <a:prstGeom prst="rect">
            <a:avLst/>
          </a:prstGeom>
        </p:spPr>
      </p:pic>
      <p:sp>
        <p:nvSpPr>
          <p:cNvPr id="9" name="Marcador de texto 8">
            <a:extLst>
              <a:ext uri="{FF2B5EF4-FFF2-40B4-BE49-F238E27FC236}">
                <a16:creationId xmlns:a16="http://schemas.microsoft.com/office/drawing/2014/main" xmlns="" id="{218C84BD-E90C-092F-D641-D51F6EE4A1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537193"/>
            <a:ext cx="8439111" cy="2820910"/>
          </a:xfrm>
        </p:spPr>
        <p:txBody>
          <a:bodyPr lIns="0">
            <a:normAutofit/>
          </a:bodyPr>
          <a:lstStyle>
            <a:lvl1pPr marL="0" indent="0">
              <a:buNone/>
              <a:defRPr sz="54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Title goes here</a:t>
            </a:r>
            <a:br>
              <a:rPr lang="x-none" dirty="0"/>
            </a:br>
            <a:r>
              <a:rPr lang="x-none" dirty="0"/>
              <a:t>Arial bold 54</a:t>
            </a:r>
          </a:p>
        </p:txBody>
      </p:sp>
      <p:pic>
        <p:nvPicPr>
          <p:cNvPr id="2" name="Marcador de contenido 7">
            <a:extLst>
              <a:ext uri="{FF2B5EF4-FFF2-40B4-BE49-F238E27FC236}">
                <a16:creationId xmlns:a16="http://schemas.microsoft.com/office/drawing/2014/main" xmlns="" id="{FA13D629-64DF-5937-379F-925EF9A8D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437330" y="685800"/>
            <a:ext cx="1116495" cy="39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16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ighlight 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ángulo 44">
            <a:extLst>
              <a:ext uri="{FF2B5EF4-FFF2-40B4-BE49-F238E27FC236}">
                <a16:creationId xmlns:a16="http://schemas.microsoft.com/office/drawing/2014/main" xmlns="" id="{640F52F8-93FE-9695-02A5-E7E4DDC48386}"/>
              </a:ext>
            </a:extLst>
          </p:cNvPr>
          <p:cNvSpPr/>
          <p:nvPr userDrawn="1"/>
        </p:nvSpPr>
        <p:spPr>
          <a:xfrm>
            <a:off x="0" y="-22631"/>
            <a:ext cx="6096000" cy="6271031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xmlns="" id="{68F43E41-2C32-F131-7958-2E3776F41E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-22631"/>
            <a:ext cx="6096000" cy="62710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D96A6EA4-56E9-399C-6064-ECCA18C3D68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" name="Group 44">
            <a:extLst>
              <a:ext uri="{FF2B5EF4-FFF2-40B4-BE49-F238E27FC236}">
                <a16:creationId xmlns:a16="http://schemas.microsoft.com/office/drawing/2014/main" xmlns="" id="{CF96D14B-047A-3845-01C3-708BF539AE8A}"/>
              </a:ext>
            </a:extLst>
          </p:cNvPr>
          <p:cNvGrpSpPr/>
          <p:nvPr/>
        </p:nvGrpSpPr>
        <p:grpSpPr>
          <a:xfrm>
            <a:off x="473895" y="698802"/>
            <a:ext cx="2390211" cy="2248269"/>
            <a:chOff x="9440592" y="4240755"/>
            <a:chExt cx="2214833" cy="2083305"/>
          </a:xfrm>
        </p:grpSpPr>
        <p:sp>
          <p:nvSpPr>
            <p:cNvPr id="14" name="Rectangle 18">
              <a:extLst>
                <a:ext uri="{FF2B5EF4-FFF2-40B4-BE49-F238E27FC236}">
                  <a16:creationId xmlns:a16="http://schemas.microsoft.com/office/drawing/2014/main" xmlns="" id="{900399B2-6394-C208-220F-6BBF472165FE}"/>
                </a:ext>
              </a:extLst>
            </p:cNvPr>
            <p:cNvSpPr/>
            <p:nvPr/>
          </p:nvSpPr>
          <p:spPr bwMode="auto">
            <a:xfrm>
              <a:off x="9440592" y="4240755"/>
              <a:ext cx="2214833" cy="42779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accent6"/>
                </a:solidFill>
                <a:effectLst/>
                <a:latin typeface="TradeGothic BoldTwo" pitchFamily="2" charset="0"/>
              </a:endParaRPr>
            </a:p>
          </p:txBody>
        </p:sp>
        <p:sp>
          <p:nvSpPr>
            <p:cNvPr id="15" name="Rectangle 19">
              <a:extLst>
                <a:ext uri="{FF2B5EF4-FFF2-40B4-BE49-F238E27FC236}">
                  <a16:creationId xmlns:a16="http://schemas.microsoft.com/office/drawing/2014/main" xmlns="" id="{23615D34-9282-0959-E9E1-EA72AF8B5ADB}"/>
                </a:ext>
              </a:extLst>
            </p:cNvPr>
            <p:cNvSpPr/>
            <p:nvPr/>
          </p:nvSpPr>
          <p:spPr bwMode="auto">
            <a:xfrm>
              <a:off x="9440592" y="4272060"/>
              <a:ext cx="2214833" cy="2052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adeGothic BoldTwo" pitchFamily="2" charset="0"/>
              </a:endParaRPr>
            </a:p>
          </p:txBody>
        </p:sp>
      </p:grp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905419C6-0656-5557-96F0-53CCB422F7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235" y="876940"/>
            <a:ext cx="1091193" cy="46166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1.</a:t>
            </a:r>
          </a:p>
        </p:txBody>
      </p:sp>
      <p:sp>
        <p:nvSpPr>
          <p:cNvPr id="17" name="Marcador de texto 2">
            <a:extLst>
              <a:ext uri="{FF2B5EF4-FFF2-40B4-BE49-F238E27FC236}">
                <a16:creationId xmlns:a16="http://schemas.microsoft.com/office/drawing/2014/main" xmlns="" id="{D4757502-01B4-3378-D019-D9DBD86538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1236" y="1862819"/>
            <a:ext cx="2030639" cy="920944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18" name="Marcador de texto 2">
            <a:extLst>
              <a:ext uri="{FF2B5EF4-FFF2-40B4-BE49-F238E27FC236}">
                <a16:creationId xmlns:a16="http://schemas.microsoft.com/office/drawing/2014/main" xmlns="" id="{DF94DA18-A816-04A2-C7AF-CFCE529A3488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61236" y="1482959"/>
            <a:ext cx="2030639" cy="235505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grpSp>
        <p:nvGrpSpPr>
          <p:cNvPr id="21" name="Group 44">
            <a:extLst>
              <a:ext uri="{FF2B5EF4-FFF2-40B4-BE49-F238E27FC236}">
                <a16:creationId xmlns:a16="http://schemas.microsoft.com/office/drawing/2014/main" xmlns="" id="{71E1A58C-ED59-6208-70C7-0B5395A2FFEB}"/>
              </a:ext>
            </a:extLst>
          </p:cNvPr>
          <p:cNvGrpSpPr/>
          <p:nvPr userDrawn="1"/>
        </p:nvGrpSpPr>
        <p:grpSpPr>
          <a:xfrm>
            <a:off x="3285841" y="694323"/>
            <a:ext cx="2390211" cy="2248267"/>
            <a:chOff x="9440592" y="4240755"/>
            <a:chExt cx="2214833" cy="2083302"/>
          </a:xfrm>
        </p:grpSpPr>
        <p:sp>
          <p:nvSpPr>
            <p:cNvPr id="22" name="Rectangle 18">
              <a:extLst>
                <a:ext uri="{FF2B5EF4-FFF2-40B4-BE49-F238E27FC236}">
                  <a16:creationId xmlns:a16="http://schemas.microsoft.com/office/drawing/2014/main" xmlns="" id="{5EEB1E43-F7B2-2F69-5056-5ADD42CDDFA7}"/>
                </a:ext>
              </a:extLst>
            </p:cNvPr>
            <p:cNvSpPr/>
            <p:nvPr/>
          </p:nvSpPr>
          <p:spPr bwMode="auto">
            <a:xfrm>
              <a:off x="9440592" y="4240755"/>
              <a:ext cx="2214833" cy="42779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accent6"/>
                </a:solidFill>
                <a:effectLst/>
                <a:latin typeface="TradeGothic BoldTwo" pitchFamily="2" charset="0"/>
              </a:endParaRPr>
            </a:p>
          </p:txBody>
        </p:sp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xmlns="" id="{124596C9-29D0-AE55-6B80-7231C73B6C74}"/>
                </a:ext>
              </a:extLst>
            </p:cNvPr>
            <p:cNvSpPr/>
            <p:nvPr/>
          </p:nvSpPr>
          <p:spPr bwMode="auto">
            <a:xfrm>
              <a:off x="9440592" y="4272058"/>
              <a:ext cx="2214833" cy="205199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adeGothic BoldTwo" pitchFamily="2" charset="0"/>
              </a:endParaRPr>
            </a:p>
          </p:txBody>
        </p:sp>
      </p:grpSp>
      <p:sp>
        <p:nvSpPr>
          <p:cNvPr id="24" name="Marcador de texto 2">
            <a:extLst>
              <a:ext uri="{FF2B5EF4-FFF2-40B4-BE49-F238E27FC236}">
                <a16:creationId xmlns:a16="http://schemas.microsoft.com/office/drawing/2014/main" xmlns="" id="{035B59A9-259C-3636-651B-543E93F4F1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62373" y="872458"/>
            <a:ext cx="1102001" cy="46166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2.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xmlns="" id="{52127E2F-CB4D-A1A4-6673-2134FB2C0098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473182" y="1858337"/>
            <a:ext cx="2030639" cy="920944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xmlns="" id="{3D9D2AE8-577C-9194-E0EC-9DC86D5D459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473182" y="1478477"/>
            <a:ext cx="2030639" cy="235505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grpSp>
        <p:nvGrpSpPr>
          <p:cNvPr id="27" name="Group 44">
            <a:extLst>
              <a:ext uri="{FF2B5EF4-FFF2-40B4-BE49-F238E27FC236}">
                <a16:creationId xmlns:a16="http://schemas.microsoft.com/office/drawing/2014/main" xmlns="" id="{87483028-D319-98E8-3DF4-E22643D709BB}"/>
              </a:ext>
            </a:extLst>
          </p:cNvPr>
          <p:cNvGrpSpPr/>
          <p:nvPr userDrawn="1"/>
        </p:nvGrpSpPr>
        <p:grpSpPr>
          <a:xfrm>
            <a:off x="452873" y="3469359"/>
            <a:ext cx="2390211" cy="2248269"/>
            <a:chOff x="9440592" y="4240755"/>
            <a:chExt cx="2214833" cy="2083305"/>
          </a:xfrm>
        </p:grpSpPr>
        <p:sp>
          <p:nvSpPr>
            <p:cNvPr id="29" name="Rectangle 18">
              <a:extLst>
                <a:ext uri="{FF2B5EF4-FFF2-40B4-BE49-F238E27FC236}">
                  <a16:creationId xmlns:a16="http://schemas.microsoft.com/office/drawing/2014/main" xmlns="" id="{B841C3FB-C880-F945-CBA6-8A8036156800}"/>
                </a:ext>
              </a:extLst>
            </p:cNvPr>
            <p:cNvSpPr/>
            <p:nvPr/>
          </p:nvSpPr>
          <p:spPr bwMode="auto">
            <a:xfrm>
              <a:off x="9440592" y="4240755"/>
              <a:ext cx="2214833" cy="42779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accent6"/>
                </a:solidFill>
                <a:effectLst/>
                <a:latin typeface="TradeGothic BoldTwo" pitchFamily="2" charset="0"/>
              </a:endParaRPr>
            </a:p>
          </p:txBody>
        </p:sp>
        <p:sp>
          <p:nvSpPr>
            <p:cNvPr id="30" name="Rectangle 19">
              <a:extLst>
                <a:ext uri="{FF2B5EF4-FFF2-40B4-BE49-F238E27FC236}">
                  <a16:creationId xmlns:a16="http://schemas.microsoft.com/office/drawing/2014/main" xmlns="" id="{27EE343C-BE09-849A-13F6-4C912E3EE47E}"/>
                </a:ext>
              </a:extLst>
            </p:cNvPr>
            <p:cNvSpPr/>
            <p:nvPr/>
          </p:nvSpPr>
          <p:spPr bwMode="auto">
            <a:xfrm>
              <a:off x="9440592" y="4272060"/>
              <a:ext cx="2214833" cy="2052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adeGothic BoldTwo" pitchFamily="2" charset="0"/>
              </a:endParaRPr>
            </a:p>
          </p:txBody>
        </p:sp>
      </p:grpSp>
      <p:sp>
        <p:nvSpPr>
          <p:cNvPr id="32" name="Marcador de texto 2">
            <a:extLst>
              <a:ext uri="{FF2B5EF4-FFF2-40B4-BE49-F238E27FC236}">
                <a16:creationId xmlns:a16="http://schemas.microsoft.com/office/drawing/2014/main" xmlns="" id="{62E97406-5804-9755-271C-AEEAA6DFC1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0213" y="3647497"/>
            <a:ext cx="1091193" cy="46166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3.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xmlns="" id="{614A7614-FF97-2AB2-1CD8-F2D53C62C5FB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40214" y="4633376"/>
            <a:ext cx="2030639" cy="920944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xmlns="" id="{FEC9CA5A-80DB-E77E-CDB4-26BF679B7161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40214" y="4253516"/>
            <a:ext cx="2030639" cy="235505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xmlns="" id="{00370833-95E5-428D-D796-53CA2901A927}"/>
              </a:ext>
            </a:extLst>
          </p:cNvPr>
          <p:cNvGrpSpPr/>
          <p:nvPr userDrawn="1"/>
        </p:nvGrpSpPr>
        <p:grpSpPr>
          <a:xfrm>
            <a:off x="3264819" y="3464877"/>
            <a:ext cx="2390211" cy="2248269"/>
            <a:chOff x="9440592" y="4240755"/>
            <a:chExt cx="2214833" cy="2083305"/>
          </a:xfrm>
        </p:grpSpPr>
        <p:sp>
          <p:nvSpPr>
            <p:cNvPr id="40" name="Rectangle 18">
              <a:extLst>
                <a:ext uri="{FF2B5EF4-FFF2-40B4-BE49-F238E27FC236}">
                  <a16:creationId xmlns:a16="http://schemas.microsoft.com/office/drawing/2014/main" xmlns="" id="{A7B0ACE9-89DD-F58B-D03A-86FC3AD2CBBA}"/>
                </a:ext>
              </a:extLst>
            </p:cNvPr>
            <p:cNvSpPr/>
            <p:nvPr/>
          </p:nvSpPr>
          <p:spPr bwMode="auto">
            <a:xfrm>
              <a:off x="9440592" y="4240755"/>
              <a:ext cx="2214833" cy="42779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accent6"/>
                </a:solidFill>
                <a:effectLst/>
                <a:latin typeface="TradeGothic BoldTwo" pitchFamily="2" charset="0"/>
              </a:endParaRPr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xmlns="" id="{630CD1D5-BC5C-C371-3A2D-372F2AEB5F87}"/>
                </a:ext>
              </a:extLst>
            </p:cNvPr>
            <p:cNvSpPr/>
            <p:nvPr/>
          </p:nvSpPr>
          <p:spPr bwMode="auto">
            <a:xfrm>
              <a:off x="9440592" y="4272060"/>
              <a:ext cx="2214833" cy="2052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adeGothic BoldTwo" pitchFamily="2" charset="0"/>
              </a:endParaRPr>
            </a:p>
          </p:txBody>
        </p:sp>
      </p:grpSp>
      <p:sp>
        <p:nvSpPr>
          <p:cNvPr id="42" name="Marcador de texto 2">
            <a:extLst>
              <a:ext uri="{FF2B5EF4-FFF2-40B4-BE49-F238E27FC236}">
                <a16:creationId xmlns:a16="http://schemas.microsoft.com/office/drawing/2014/main" xmlns="" id="{421B74E6-A305-68F6-E21F-121F6554438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52159" y="3643015"/>
            <a:ext cx="1091193" cy="46166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4.</a:t>
            </a:r>
          </a:p>
        </p:txBody>
      </p:sp>
      <p:sp>
        <p:nvSpPr>
          <p:cNvPr id="43" name="Marcador de texto 2">
            <a:extLst>
              <a:ext uri="{FF2B5EF4-FFF2-40B4-BE49-F238E27FC236}">
                <a16:creationId xmlns:a16="http://schemas.microsoft.com/office/drawing/2014/main" xmlns="" id="{8730C676-07D0-028B-BF8C-6B83676A9EC8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3452160" y="4628894"/>
            <a:ext cx="2030639" cy="920944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44" name="Marcador de texto 2">
            <a:extLst>
              <a:ext uri="{FF2B5EF4-FFF2-40B4-BE49-F238E27FC236}">
                <a16:creationId xmlns:a16="http://schemas.microsoft.com/office/drawing/2014/main" xmlns="" id="{8A80947F-3245-1F11-98C2-B616920BB8AB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452160" y="4249034"/>
            <a:ext cx="2030639" cy="235505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46" name="Marcador de fecha 45">
            <a:extLst>
              <a:ext uri="{FF2B5EF4-FFF2-40B4-BE49-F238E27FC236}">
                <a16:creationId xmlns:a16="http://schemas.microsoft.com/office/drawing/2014/main" xmlns="" id="{55E7082F-7270-E09B-75EB-17F401BDF6B9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E82B5F4-73BE-451C-96D2-169D5A660E46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47" name="Marcador de pie de página 46">
            <a:extLst>
              <a:ext uri="{FF2B5EF4-FFF2-40B4-BE49-F238E27FC236}">
                <a16:creationId xmlns:a16="http://schemas.microsoft.com/office/drawing/2014/main" xmlns="" id="{E99C0165-7F5A-0210-9C5D-7402ADEDB95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48" name="Marcador de número de diapositiva 47">
            <a:extLst>
              <a:ext uri="{FF2B5EF4-FFF2-40B4-BE49-F238E27FC236}">
                <a16:creationId xmlns:a16="http://schemas.microsoft.com/office/drawing/2014/main" xmlns="" id="{4A5C8999-7987-F7C6-A4AA-BEA0FB14D1F6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299952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6">
            <a:extLst>
              <a:ext uri="{FF2B5EF4-FFF2-40B4-BE49-F238E27FC236}">
                <a16:creationId xmlns:a16="http://schemas.microsoft.com/office/drawing/2014/main" xmlns="" id="{0FB5A76C-BC0F-86EB-6A32-7C577E7D472C}"/>
              </a:ext>
            </a:extLst>
          </p:cNvPr>
          <p:cNvSpPr/>
          <p:nvPr userDrawn="1"/>
        </p:nvSpPr>
        <p:spPr bwMode="auto">
          <a:xfrm>
            <a:off x="-5798" y="1198830"/>
            <a:ext cx="12192000" cy="50531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F12BFCA-F441-4890-A7EB-D118A4FF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2839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is is a picture mosaic slide</a:t>
            </a:r>
            <a:endParaRPr lang="x-none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sp>
        <p:nvSpPr>
          <p:cNvPr id="4" name="Picture Placeholder 20">
            <a:extLst>
              <a:ext uri="{FF2B5EF4-FFF2-40B4-BE49-F238E27FC236}">
                <a16:creationId xmlns:a16="http://schemas.microsoft.com/office/drawing/2014/main" xmlns="" id="{F5B5901D-2349-E3B0-6720-E4D7CB7980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924145" y="1815905"/>
            <a:ext cx="4770942" cy="38395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5" name="Picture Placeholder 20">
            <a:extLst>
              <a:ext uri="{FF2B5EF4-FFF2-40B4-BE49-F238E27FC236}">
                <a16:creationId xmlns:a16="http://schemas.microsoft.com/office/drawing/2014/main" xmlns="" id="{1CA7EE68-55C6-E475-E2F4-3F1ACA90F6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2839" y="1815905"/>
            <a:ext cx="1712784" cy="11410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xmlns="" id="{1C65C347-3C4E-E71F-2870-A4B829A3978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839" y="3126090"/>
            <a:ext cx="1712784" cy="11410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7" name="Picture Placeholder 20">
            <a:extLst>
              <a:ext uri="{FF2B5EF4-FFF2-40B4-BE49-F238E27FC236}">
                <a16:creationId xmlns:a16="http://schemas.microsoft.com/office/drawing/2014/main" xmlns="" id="{0BD0EA43-9C64-052C-0297-138C3269E38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62839" y="4518161"/>
            <a:ext cx="1712784" cy="11410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xmlns="" id="{DAA7C254-2533-3564-F5E8-CB5CAF9729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56563" y="1816100"/>
            <a:ext cx="3297237" cy="3840163"/>
          </a:xfrm>
        </p:spPr>
        <p:txBody>
          <a:bodyPr lIns="0" t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 </a:t>
            </a:r>
            <a:r>
              <a:rPr lang="es-ES" dirty="0" err="1">
                <a:effectLst/>
              </a:rPr>
              <a:t>Lorem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psum</a:t>
            </a:r>
            <a:r>
              <a:rPr lang="es-ES" dirty="0">
                <a:effectLst/>
              </a:rPr>
              <a:t> has </a:t>
            </a:r>
            <a:r>
              <a:rPr lang="es-ES" dirty="0" err="1">
                <a:effectLst/>
              </a:rPr>
              <a:t>been</a:t>
            </a:r>
            <a:r>
              <a:rPr lang="es-ES" dirty="0">
                <a:effectLst/>
              </a:rPr>
              <a:t> </a:t>
            </a:r>
          </a:p>
          <a:p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's</a:t>
            </a:r>
            <a:r>
              <a:rPr lang="es-ES" dirty="0">
                <a:effectLst/>
              </a:rPr>
              <a:t> standard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ever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sinc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1500s, </a:t>
            </a:r>
            <a:r>
              <a:rPr lang="es-ES" dirty="0" err="1">
                <a:effectLst/>
              </a:rPr>
              <a:t>whe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a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unknow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er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ook</a:t>
            </a:r>
            <a:r>
              <a:rPr lang="es-ES" dirty="0">
                <a:effectLst/>
              </a:rPr>
              <a:t> </a:t>
            </a:r>
          </a:p>
          <a:p>
            <a:r>
              <a:rPr lang="x-none" dirty="0"/>
              <a:t>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 </a:t>
            </a:r>
            <a:r>
              <a:rPr lang="es-ES" dirty="0" err="1">
                <a:effectLst/>
              </a:rPr>
              <a:t>Lorem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psum</a:t>
            </a:r>
            <a:r>
              <a:rPr lang="es-ES" dirty="0">
                <a:effectLst/>
              </a:rPr>
              <a:t> has </a:t>
            </a:r>
            <a:r>
              <a:rPr lang="es-ES" dirty="0" err="1">
                <a:effectLst/>
              </a:rPr>
              <a:t>been</a:t>
            </a:r>
            <a:r>
              <a:rPr lang="es-ES" dirty="0">
                <a:effectLst/>
              </a:rPr>
              <a:t> </a:t>
            </a:r>
          </a:p>
          <a:p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's</a:t>
            </a:r>
            <a:r>
              <a:rPr lang="es-ES" dirty="0">
                <a:effectLst/>
              </a:rPr>
              <a:t> standard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ever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sinc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1500s, </a:t>
            </a:r>
            <a:r>
              <a:rPr lang="es-ES" dirty="0" err="1">
                <a:effectLst/>
              </a:rPr>
              <a:t>whe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a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unknown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er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ook</a:t>
            </a:r>
            <a:r>
              <a:rPr lang="es-ES" dirty="0">
                <a:effectLst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lvl="0"/>
            <a:endParaRPr lang="x-none" dirty="0"/>
          </a:p>
        </p:txBody>
      </p:sp>
      <p:sp>
        <p:nvSpPr>
          <p:cNvPr id="22" name="Marcador de fecha 21">
            <a:extLst>
              <a:ext uri="{FF2B5EF4-FFF2-40B4-BE49-F238E27FC236}">
                <a16:creationId xmlns:a16="http://schemas.microsoft.com/office/drawing/2014/main" xmlns="" id="{CBB0974C-13D8-0A87-217C-B017154C67AC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0D42D2A4-059E-467D-BACE-6A9BA9C9C39C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3" name="Marcador de pie de página 22">
            <a:extLst>
              <a:ext uri="{FF2B5EF4-FFF2-40B4-BE49-F238E27FC236}">
                <a16:creationId xmlns:a16="http://schemas.microsoft.com/office/drawing/2014/main" xmlns="" id="{9B5F32A1-D4D5-AA4F-03AE-DD7323BAE5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4" name="Marcador de número de diapositiva 23">
            <a:extLst>
              <a:ext uri="{FF2B5EF4-FFF2-40B4-BE49-F238E27FC236}">
                <a16:creationId xmlns:a16="http://schemas.microsoft.com/office/drawing/2014/main" xmlns="" id="{AE876CC1-B827-230A-CC98-DB0C75C5BC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708810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ulle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6">
            <a:extLst>
              <a:ext uri="{FF2B5EF4-FFF2-40B4-BE49-F238E27FC236}">
                <a16:creationId xmlns:a16="http://schemas.microsoft.com/office/drawing/2014/main" xmlns="" id="{0FB5A76C-BC0F-86EB-6A32-7C577E7D472C}"/>
              </a:ext>
            </a:extLst>
          </p:cNvPr>
          <p:cNvSpPr/>
          <p:nvPr userDrawn="1"/>
        </p:nvSpPr>
        <p:spPr bwMode="auto">
          <a:xfrm>
            <a:off x="-5798" y="1198830"/>
            <a:ext cx="12192000" cy="50531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F12BFCA-F441-4890-A7EB-D118A4FF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is a standard slide text + title + picture</a:t>
            </a:r>
            <a:endParaRPr lang="x-none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sp>
        <p:nvSpPr>
          <p:cNvPr id="4" name="Picture Placeholder 20">
            <a:extLst>
              <a:ext uri="{FF2B5EF4-FFF2-40B4-BE49-F238E27FC236}">
                <a16:creationId xmlns:a16="http://schemas.microsoft.com/office/drawing/2014/main" xmlns="" id="{F5B5901D-2349-E3B0-6720-E4D7CB7980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37159" y="1867505"/>
            <a:ext cx="6016641" cy="38395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xmlns="" id="{DAA7C254-2533-3564-F5E8-CB5CAF9729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22" y="2672676"/>
            <a:ext cx="3830347" cy="303499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rgbClr val="5F5F5F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dirty="0"/>
          </a:p>
          <a:p>
            <a:pPr lvl="0"/>
            <a:endParaRPr lang="x-none" dirty="0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6F3B35E9-6314-64F1-064A-90F9AC3E202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51822" y="1867505"/>
            <a:ext cx="3830347" cy="58498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6 pt</a:t>
            </a:r>
          </a:p>
        </p:txBody>
      </p:sp>
      <p:sp>
        <p:nvSpPr>
          <p:cNvPr id="18" name="Marcador de fecha 17">
            <a:extLst>
              <a:ext uri="{FF2B5EF4-FFF2-40B4-BE49-F238E27FC236}">
                <a16:creationId xmlns:a16="http://schemas.microsoft.com/office/drawing/2014/main" xmlns="" id="{081224C8-B046-7EB7-75E0-5C64B69F6D6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81BEAD8F-3D7D-4D67-B1EC-8C5554134633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19" name="Marcador de pie de página 18">
            <a:extLst>
              <a:ext uri="{FF2B5EF4-FFF2-40B4-BE49-F238E27FC236}">
                <a16:creationId xmlns:a16="http://schemas.microsoft.com/office/drawing/2014/main" xmlns="" id="{CB5BD472-59F2-644E-A25E-2F35A85FB6C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0" name="Marcador de número de diapositiva 19">
            <a:extLst>
              <a:ext uri="{FF2B5EF4-FFF2-40B4-BE49-F238E27FC236}">
                <a16:creationId xmlns:a16="http://schemas.microsoft.com/office/drawing/2014/main" xmlns="" id="{9929BB61-FE42-4601-9A9C-A434222C9751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185881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+ Obje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sp>
        <p:nvSpPr>
          <p:cNvPr id="17" name="Marcador de fecha 16">
            <a:extLst>
              <a:ext uri="{FF2B5EF4-FFF2-40B4-BE49-F238E27FC236}">
                <a16:creationId xmlns:a16="http://schemas.microsoft.com/office/drawing/2014/main" xmlns="" id="{538FCAD3-6157-0BE9-0334-734D72B9D42C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E418644A-4A6D-48AD-91C2-E745168F86FE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xmlns="" id="{AF562FFA-512D-AA09-22E6-2FAF4EAFB0B9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xmlns="" id="{8385B698-89BE-AA3A-BFC4-FADDAC7B567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xmlns="" id="{66469A5E-CC7F-E260-FAF5-E40ED4638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is is a content + object slide</a:t>
            </a:r>
            <a:endParaRPr lang="x-none" dirty="0"/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xmlns="" id="{6B2B49CC-86FA-2DCD-48C8-7C0B866F7581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51822" y="1867505"/>
            <a:ext cx="3830347" cy="58498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6 pt</a:t>
            </a:r>
          </a:p>
        </p:txBody>
      </p:sp>
      <p:sp>
        <p:nvSpPr>
          <p:cNvPr id="23" name="Marcador de texto 15">
            <a:extLst>
              <a:ext uri="{FF2B5EF4-FFF2-40B4-BE49-F238E27FC236}">
                <a16:creationId xmlns:a16="http://schemas.microsoft.com/office/drawing/2014/main" xmlns="" id="{D1A6D090-B95B-5B26-AD47-BB8E894CE5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200" y="2672675"/>
            <a:ext cx="3843969" cy="2747611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5F5F5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 </a:t>
            </a: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.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50622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28FB413F-FEF0-A10A-3E21-709F63B614C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Marcador de contenido 14">
            <a:extLst>
              <a:ext uri="{FF2B5EF4-FFF2-40B4-BE49-F238E27FC236}">
                <a16:creationId xmlns:a16="http://schemas.microsoft.com/office/drawing/2014/main" xmlns="" id="{B9F72E01-0324-8A2E-4C7A-955A7D9553F4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0" y="1249363"/>
            <a:ext cx="12192000" cy="4999037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kern="0" dirty="0"/>
              <a:t>On this block you can add different kinds of media</a:t>
            </a:r>
            <a:br>
              <a:rPr lang="x-none" kern="0" dirty="0"/>
            </a:br>
            <a:r>
              <a:rPr lang="x-none" kern="0" dirty="0"/>
              <a:t>by clicking  on a specific icon, such as videos,</a:t>
            </a:r>
            <a:br>
              <a:rPr lang="x-none" kern="0" dirty="0"/>
            </a:br>
            <a:r>
              <a:rPr lang="x-none" kern="0" dirty="0"/>
              <a:t>Charts, images, etc…</a:t>
            </a:r>
          </a:p>
          <a:p>
            <a:pPr lvl="0"/>
            <a:endParaRPr lang="x-none" dirty="0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xmlns="" id="{EA265518-9F83-9834-B6E6-62BDDBA2E4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is is a video slide</a:t>
            </a:r>
            <a:endParaRPr lang="x-none" dirty="0"/>
          </a:p>
        </p:txBody>
      </p:sp>
      <p:sp>
        <p:nvSpPr>
          <p:cNvPr id="20" name="Marcador de fecha 19">
            <a:extLst>
              <a:ext uri="{FF2B5EF4-FFF2-40B4-BE49-F238E27FC236}">
                <a16:creationId xmlns:a16="http://schemas.microsoft.com/office/drawing/2014/main" xmlns="" id="{22151BA3-BB3F-1549-060A-53892E024E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1EDA6BB-CAAB-45DA-BE38-822FEBBA8856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xmlns="" id="{EC686A98-8DF6-D162-B05B-E22C10B2D49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2" name="Marcador de número de diapositiva 21">
            <a:extLst>
              <a:ext uri="{FF2B5EF4-FFF2-40B4-BE49-F238E27FC236}">
                <a16:creationId xmlns:a16="http://schemas.microsoft.com/office/drawing/2014/main" xmlns="" id="{34638E4C-EEFC-DB8D-A426-6B4EC1D213F4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64318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28FB413F-FEF0-A10A-3E21-709F63B614C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Título 1">
            <a:extLst>
              <a:ext uri="{FF2B5EF4-FFF2-40B4-BE49-F238E27FC236}">
                <a16:creationId xmlns:a16="http://schemas.microsoft.com/office/drawing/2014/main" xmlns="" id="{E01316D3-16F5-B3ED-3933-651D3157C6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cons</a:t>
            </a:r>
            <a:endParaRPr lang="x-none" dirty="0"/>
          </a:p>
        </p:txBody>
      </p:sp>
      <p:sp>
        <p:nvSpPr>
          <p:cNvPr id="121" name="Marcador de fecha 120">
            <a:extLst>
              <a:ext uri="{FF2B5EF4-FFF2-40B4-BE49-F238E27FC236}">
                <a16:creationId xmlns:a16="http://schemas.microsoft.com/office/drawing/2014/main" xmlns="" id="{CC4D199C-E1CF-517C-800F-0921BE180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57691-5541-47CE-BD02-500E4A060F3D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122" name="Marcador de pie de página 121">
            <a:extLst>
              <a:ext uri="{FF2B5EF4-FFF2-40B4-BE49-F238E27FC236}">
                <a16:creationId xmlns:a16="http://schemas.microsoft.com/office/drawing/2014/main" xmlns="" id="{E851FFD8-2FBC-21F8-E302-EDCD378A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123" name="Marcador de número de diapositiva 122">
            <a:extLst>
              <a:ext uri="{FF2B5EF4-FFF2-40B4-BE49-F238E27FC236}">
                <a16:creationId xmlns:a16="http://schemas.microsoft.com/office/drawing/2014/main" xmlns="" id="{456D01BC-4CBB-87AF-80BA-9B7014556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635195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28FB413F-FEF0-A10A-3E21-709F63B614C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 5">
            <a:extLst>
              <a:ext uri="{FF2B5EF4-FFF2-40B4-BE49-F238E27FC236}">
                <a16:creationId xmlns:a16="http://schemas.microsoft.com/office/drawing/2014/main" xmlns="" id="{921216CD-CBB9-799F-9B4A-03B0841F4C8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081836" y="2286000"/>
            <a:ext cx="674316" cy="48847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xmlns="" id="{E1510E79-F1A4-0D09-0782-A82CFCB5B03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3099554" y="2286000"/>
            <a:ext cx="674316" cy="488470"/>
          </a:xfrm>
          <a:prstGeom prst="rect">
            <a:avLst/>
          </a:prstGeom>
          <a:solidFill>
            <a:srgbClr val="64646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xmlns="" id="{B7750C86-85D9-8611-7DD9-EB820A54145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18832" y="2286000"/>
            <a:ext cx="674316" cy="488470"/>
          </a:xfrm>
          <a:prstGeom prst="rect">
            <a:avLst/>
          </a:prstGeom>
          <a:solidFill>
            <a:srgbClr val="FFA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Box 14">
            <a:extLst>
              <a:ext uri="{FF2B5EF4-FFF2-40B4-BE49-F238E27FC236}">
                <a16:creationId xmlns:a16="http://schemas.microsoft.com/office/drawing/2014/main" xmlns="" id="{A5EB5298-2B21-2926-C92A-01EF39B4A9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987948" y="2854752"/>
            <a:ext cx="9060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02-102-102</a:t>
            </a:r>
          </a:p>
        </p:txBody>
      </p:sp>
      <p:sp>
        <p:nvSpPr>
          <p:cNvPr id="36" name="Text Box 15">
            <a:extLst>
              <a:ext uri="{FF2B5EF4-FFF2-40B4-BE49-F238E27FC236}">
                <a16:creationId xmlns:a16="http://schemas.microsoft.com/office/drawing/2014/main" xmlns="" id="{C21BC08A-127B-7528-B30E-E001CF8DAE8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9490" y="2855882"/>
            <a:ext cx="7681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255-153-0</a:t>
            </a:r>
          </a:p>
        </p:txBody>
      </p:sp>
      <p:sp>
        <p:nvSpPr>
          <p:cNvPr id="37" name="Text Box 16">
            <a:extLst>
              <a:ext uri="{FF2B5EF4-FFF2-40B4-BE49-F238E27FC236}">
                <a16:creationId xmlns:a16="http://schemas.microsoft.com/office/drawing/2014/main" xmlns="" id="{D82579D3-B6F1-7EEC-570F-922FEB6C74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9441" y="2855882"/>
            <a:ext cx="694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255-51-0</a:t>
            </a:r>
          </a:p>
        </p:txBody>
      </p:sp>
      <p:sp>
        <p:nvSpPr>
          <p:cNvPr id="38" name="CuadroTexto 22">
            <a:extLst>
              <a:ext uri="{FF2B5EF4-FFF2-40B4-BE49-F238E27FC236}">
                <a16:creationId xmlns:a16="http://schemas.microsoft.com/office/drawing/2014/main" xmlns="" id="{9B5ADBCD-5297-3294-F1C4-099E7B564875}"/>
              </a:ext>
            </a:extLst>
          </p:cNvPr>
          <p:cNvSpPr txBox="1"/>
          <p:nvPr userDrawn="1"/>
        </p:nvSpPr>
        <p:spPr>
          <a:xfrm>
            <a:off x="2069441" y="1828800"/>
            <a:ext cx="2013730" cy="2308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t">
              <a:lnSpc>
                <a:spcPts val="1800"/>
              </a:lnSpc>
            </a:pPr>
            <a:r>
              <a:rPr lang="en-GB" sz="1300" b="1" dirty="0">
                <a:latin typeface="Arial" panose="020B0604020202020204" pitchFamily="34" charset="0"/>
                <a:cs typeface="Arial" panose="020B0604020202020204" pitchFamily="34" charset="0"/>
              </a:rPr>
              <a:t>Primary </a:t>
            </a:r>
            <a:r>
              <a:rPr lang="en-GB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Color</a:t>
            </a:r>
            <a:r>
              <a:rPr lang="en-GB" sz="1300" b="1" dirty="0">
                <a:latin typeface="Arial" panose="020B0604020202020204" pitchFamily="34" charset="0"/>
                <a:cs typeface="Arial" panose="020B0604020202020204" pitchFamily="34" charset="0"/>
              </a:rPr>
              <a:t> Palette</a:t>
            </a:r>
            <a:endParaRPr lang="es-ES_tradnl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xmlns="" id="{722F51E3-E677-00F1-B175-BADB8FA1B44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098770" y="4013200"/>
            <a:ext cx="674316" cy="488470"/>
          </a:xfrm>
          <a:prstGeom prst="rect">
            <a:avLst/>
          </a:prstGeom>
          <a:solidFill>
            <a:srgbClr val="03688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7">
            <a:extLst>
              <a:ext uri="{FF2B5EF4-FFF2-40B4-BE49-F238E27FC236}">
                <a16:creationId xmlns:a16="http://schemas.microsoft.com/office/drawing/2014/main" xmlns="" id="{08A7CF51-DDF2-D81A-EECB-15CDED07BAA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3116488" y="4013200"/>
            <a:ext cx="674316" cy="488470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8">
            <a:extLst>
              <a:ext uri="{FF2B5EF4-FFF2-40B4-BE49-F238E27FC236}">
                <a16:creationId xmlns:a16="http://schemas.microsoft.com/office/drawing/2014/main" xmlns="" id="{BFD2B6C7-4B24-E36B-0179-853E27C2942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35766" y="4013200"/>
            <a:ext cx="674316" cy="488470"/>
          </a:xfrm>
          <a:prstGeom prst="rect">
            <a:avLst/>
          </a:prstGeom>
          <a:solidFill>
            <a:srgbClr val="00336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Box 14">
            <a:extLst>
              <a:ext uri="{FF2B5EF4-FFF2-40B4-BE49-F238E27FC236}">
                <a16:creationId xmlns:a16="http://schemas.microsoft.com/office/drawing/2014/main" xmlns="" id="{CAB1BA53-52AE-B50C-AEF6-6CC1C70376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10680" y="4581952"/>
            <a:ext cx="694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0-51-153</a:t>
            </a:r>
          </a:p>
        </p:txBody>
      </p:sp>
      <p:sp>
        <p:nvSpPr>
          <p:cNvPr id="43" name="Text Box 15">
            <a:extLst>
              <a:ext uri="{FF2B5EF4-FFF2-40B4-BE49-F238E27FC236}">
                <a16:creationId xmlns:a16="http://schemas.microsoft.com/office/drawing/2014/main" xmlns="" id="{CFEB3649-208C-53CE-F884-675B2BD4DF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123293" y="4583082"/>
            <a:ext cx="694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0-51-102</a:t>
            </a:r>
          </a:p>
        </p:txBody>
      </p:sp>
      <p:sp>
        <p:nvSpPr>
          <p:cNvPr id="44" name="Text Box 16">
            <a:extLst>
              <a:ext uri="{FF2B5EF4-FFF2-40B4-BE49-F238E27FC236}">
                <a16:creationId xmlns:a16="http://schemas.microsoft.com/office/drawing/2014/main" xmlns="" id="{1342445B-4537-37A2-665C-E0A4C3D9ED4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51109" y="4583082"/>
            <a:ext cx="7649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-104-138</a:t>
            </a:r>
          </a:p>
        </p:txBody>
      </p:sp>
      <p:sp>
        <p:nvSpPr>
          <p:cNvPr id="45" name="CuadroTexto 22">
            <a:extLst>
              <a:ext uri="{FF2B5EF4-FFF2-40B4-BE49-F238E27FC236}">
                <a16:creationId xmlns:a16="http://schemas.microsoft.com/office/drawing/2014/main" xmlns="" id="{349DDF2D-A74D-1FF8-77D3-BA5144D807E9}"/>
              </a:ext>
            </a:extLst>
          </p:cNvPr>
          <p:cNvSpPr txBox="1"/>
          <p:nvPr userDrawn="1"/>
        </p:nvSpPr>
        <p:spPr>
          <a:xfrm>
            <a:off x="2086375" y="3556000"/>
            <a:ext cx="2013730" cy="2308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t">
              <a:lnSpc>
                <a:spcPts val="1800"/>
              </a:lnSpc>
            </a:pPr>
            <a:r>
              <a:rPr lang="en-GB" sz="1300" b="1" dirty="0">
                <a:latin typeface="Arial" panose="020B0604020202020204" pitchFamily="34" charset="0"/>
                <a:cs typeface="Arial" panose="020B0604020202020204" pitchFamily="34" charset="0"/>
              </a:rPr>
              <a:t>Secondary </a:t>
            </a:r>
            <a:r>
              <a:rPr lang="en-GB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Color</a:t>
            </a:r>
            <a:r>
              <a:rPr lang="en-GB" sz="1300" b="1" dirty="0">
                <a:latin typeface="Arial" panose="020B0604020202020204" pitchFamily="34" charset="0"/>
                <a:cs typeface="Arial" panose="020B0604020202020204" pitchFamily="34" charset="0"/>
              </a:rPr>
              <a:t> Palette</a:t>
            </a:r>
            <a:endParaRPr lang="es-ES_tradnl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8">
            <a:extLst>
              <a:ext uri="{FF2B5EF4-FFF2-40B4-BE49-F238E27FC236}">
                <a16:creationId xmlns:a16="http://schemas.microsoft.com/office/drawing/2014/main" xmlns="" id="{926F6F38-0FA8-0B7F-BB9D-6F75E9CA32E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117074" y="4013200"/>
            <a:ext cx="674316" cy="488470"/>
          </a:xfrm>
          <a:prstGeom prst="rect">
            <a:avLst/>
          </a:prstGeom>
          <a:solidFill>
            <a:srgbClr val="FF83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Box 15">
            <a:extLst>
              <a:ext uri="{FF2B5EF4-FFF2-40B4-BE49-F238E27FC236}">
                <a16:creationId xmlns:a16="http://schemas.microsoft.com/office/drawing/2014/main" xmlns="" id="{F2CF57C1-AA59-2311-C9DC-0739FB4E16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69335" y="4583082"/>
            <a:ext cx="7649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255-131-0</a:t>
            </a:r>
          </a:p>
        </p:txBody>
      </p:sp>
      <p:sp>
        <p:nvSpPr>
          <p:cNvPr id="48" name="Rectangle 5">
            <a:extLst>
              <a:ext uri="{FF2B5EF4-FFF2-40B4-BE49-F238E27FC236}">
                <a16:creationId xmlns:a16="http://schemas.microsoft.com/office/drawing/2014/main" xmlns="" id="{C1120EFC-12DB-A162-F798-62214132CFC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6130443" y="4013200"/>
            <a:ext cx="674316" cy="488470"/>
          </a:xfrm>
          <a:prstGeom prst="rect">
            <a:avLst/>
          </a:prstGeom>
          <a:solidFill>
            <a:srgbClr val="00B45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7">
            <a:extLst>
              <a:ext uri="{FF2B5EF4-FFF2-40B4-BE49-F238E27FC236}">
                <a16:creationId xmlns:a16="http://schemas.microsoft.com/office/drawing/2014/main" xmlns="" id="{18BE2C7A-64F8-1A44-B365-75E4F8481690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148161" y="4013200"/>
            <a:ext cx="674316" cy="488470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xmlns="" id="{27BDCECB-1A8F-7877-FBF3-1614A46E1A2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8167439" y="4013200"/>
            <a:ext cx="674316" cy="488470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Box 14">
            <a:extLst>
              <a:ext uri="{FF2B5EF4-FFF2-40B4-BE49-F238E27FC236}">
                <a16:creationId xmlns:a16="http://schemas.microsoft.com/office/drawing/2014/main" xmlns="" id="{85D4E808-BE33-3B6B-8ACE-D3A243D9DB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76015" y="4581952"/>
            <a:ext cx="627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0-102-0</a:t>
            </a:r>
          </a:p>
        </p:txBody>
      </p:sp>
      <p:sp>
        <p:nvSpPr>
          <p:cNvPr id="52" name="Text Box 15">
            <a:extLst>
              <a:ext uri="{FF2B5EF4-FFF2-40B4-BE49-F238E27FC236}">
                <a16:creationId xmlns:a16="http://schemas.microsoft.com/office/drawing/2014/main" xmlns="" id="{5205B60C-2AF8-9C01-BD39-883D4FE33A1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49168" y="4583082"/>
            <a:ext cx="9060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212-212-212</a:t>
            </a:r>
          </a:p>
        </p:txBody>
      </p:sp>
      <p:sp>
        <p:nvSpPr>
          <p:cNvPr id="53" name="Text Box 16">
            <a:extLst>
              <a:ext uri="{FF2B5EF4-FFF2-40B4-BE49-F238E27FC236}">
                <a16:creationId xmlns:a16="http://schemas.microsoft.com/office/drawing/2014/main" xmlns="" id="{557FC16B-5B1D-E050-8F2C-92C1C9902D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118048" y="4583082"/>
            <a:ext cx="694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0-180-81</a:t>
            </a:r>
          </a:p>
        </p:txBody>
      </p:sp>
      <p:sp>
        <p:nvSpPr>
          <p:cNvPr id="54" name="Rectangle 8">
            <a:extLst>
              <a:ext uri="{FF2B5EF4-FFF2-40B4-BE49-F238E27FC236}">
                <a16:creationId xmlns:a16="http://schemas.microsoft.com/office/drawing/2014/main" xmlns="" id="{F9549DE1-7FD1-85C3-CF25-FD8DFD7C304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148747" y="4013200"/>
            <a:ext cx="674316" cy="488470"/>
          </a:xfrm>
          <a:prstGeom prst="rect">
            <a:avLst/>
          </a:prstGeom>
          <a:solidFill>
            <a:srgbClr val="47545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15">
            <a:extLst>
              <a:ext uri="{FF2B5EF4-FFF2-40B4-BE49-F238E27FC236}">
                <a16:creationId xmlns:a16="http://schemas.microsoft.com/office/drawing/2014/main" xmlns="" id="{C4785F05-0154-924D-5F9D-7AA514B45C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36274" y="4583082"/>
            <a:ext cx="694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72-84-88</a:t>
            </a:r>
          </a:p>
        </p:txBody>
      </p:sp>
      <p:sp>
        <p:nvSpPr>
          <p:cNvPr id="56" name="Título 1">
            <a:extLst>
              <a:ext uri="{FF2B5EF4-FFF2-40B4-BE49-F238E27FC236}">
                <a16:creationId xmlns:a16="http://schemas.microsoft.com/office/drawing/2014/main" xmlns="" id="{409DB601-1797-C139-1B95-CB4FC5657A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lors</a:t>
            </a:r>
            <a:endParaRPr lang="x-none" dirty="0"/>
          </a:p>
        </p:txBody>
      </p:sp>
      <p:sp>
        <p:nvSpPr>
          <p:cNvPr id="57" name="Marcador de fecha 56">
            <a:extLst>
              <a:ext uri="{FF2B5EF4-FFF2-40B4-BE49-F238E27FC236}">
                <a16:creationId xmlns:a16="http://schemas.microsoft.com/office/drawing/2014/main" xmlns="" id="{3230B0FA-D442-01AB-8DEF-7914A0396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15CF7-13EF-4518-B510-77B82A69A8E8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58" name="Marcador de pie de página 57">
            <a:extLst>
              <a:ext uri="{FF2B5EF4-FFF2-40B4-BE49-F238E27FC236}">
                <a16:creationId xmlns:a16="http://schemas.microsoft.com/office/drawing/2014/main" xmlns="" id="{580ADF63-2469-382C-1241-17DE86F87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59" name="Marcador de número de diapositiva 58">
            <a:extLst>
              <a:ext uri="{FF2B5EF4-FFF2-40B4-BE49-F238E27FC236}">
                <a16:creationId xmlns:a16="http://schemas.microsoft.com/office/drawing/2014/main" xmlns="" id="{3AFC9E6B-6421-0CD3-A170-3BD445215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9617028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xmlns="" id="{54D1D1DA-6A25-708B-8CAE-43A0713A73AF}"/>
              </a:ext>
            </a:extLst>
          </p:cNvPr>
          <p:cNvSpPr txBox="1">
            <a:spLocks/>
          </p:cNvSpPr>
          <p:nvPr userDrawn="1"/>
        </p:nvSpPr>
        <p:spPr>
          <a:xfrm>
            <a:off x="10719246" y="6430669"/>
            <a:ext cx="824346" cy="296797"/>
          </a:xfrm>
          <a:prstGeom prst="rect">
            <a:avLst/>
          </a:prstGeom>
        </p:spPr>
        <p:txBody>
          <a:bodyPr/>
          <a:lstStyle>
            <a:defPPr>
              <a:defRPr lang="es-A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endParaRPr lang="x-none" sz="1000" dirty="0">
              <a:solidFill>
                <a:schemeClr val="bg2"/>
              </a:solidFill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28FB413F-FEF0-A10A-3E21-709F63B614C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1" name="Título 1">
            <a:extLst>
              <a:ext uri="{FF2B5EF4-FFF2-40B4-BE49-F238E27FC236}">
                <a16:creationId xmlns:a16="http://schemas.microsoft.com/office/drawing/2014/main" xmlns="" id="{32E39545-FE1A-678C-00A2-8039AF262A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822" y="39253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TAs</a:t>
            </a:r>
            <a:endParaRPr lang="x-none" dirty="0"/>
          </a:p>
        </p:txBody>
      </p:sp>
      <p:sp>
        <p:nvSpPr>
          <p:cNvPr id="132" name="Marcador de fecha 131">
            <a:extLst>
              <a:ext uri="{FF2B5EF4-FFF2-40B4-BE49-F238E27FC236}">
                <a16:creationId xmlns:a16="http://schemas.microsoft.com/office/drawing/2014/main" xmlns="" id="{F441241E-90AE-E71B-79C0-205E0ACC8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E5E0D7-7F62-4893-8480-4067AEE3DD33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133" name="Marcador de pie de página 132">
            <a:extLst>
              <a:ext uri="{FF2B5EF4-FFF2-40B4-BE49-F238E27FC236}">
                <a16:creationId xmlns:a16="http://schemas.microsoft.com/office/drawing/2014/main" xmlns="" id="{29FB4EDA-1673-3DFE-FF57-078D92AF3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134" name="Marcador de número de diapositiva 133">
            <a:extLst>
              <a:ext uri="{FF2B5EF4-FFF2-40B4-BE49-F238E27FC236}">
                <a16:creationId xmlns:a16="http://schemas.microsoft.com/office/drawing/2014/main" xmlns="" id="{D64C9676-1F26-4373-E6B6-060F1CE63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630607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49678992-E0C4-E5C8-9FB7-5A72623C43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878"/>
            <a:ext cx="12244762" cy="6885878"/>
          </a:xfrm>
          <a:prstGeom prst="rect">
            <a:avLst/>
          </a:prstGeom>
        </p:spPr>
      </p:pic>
      <p:pic>
        <p:nvPicPr>
          <p:cNvPr id="6" name="Marcador de contenido 7">
            <a:extLst>
              <a:ext uri="{FF2B5EF4-FFF2-40B4-BE49-F238E27FC236}">
                <a16:creationId xmlns:a16="http://schemas.microsoft.com/office/drawing/2014/main" xmlns="" id="{F1D78EF8-92FD-3E36-BD6A-0E10DDB4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437330" y="685800"/>
            <a:ext cx="1116495" cy="390431"/>
          </a:xfrm>
          <a:prstGeom prst="rect">
            <a:avLst/>
          </a:prstGeom>
        </p:spPr>
      </p:pic>
      <p:sp>
        <p:nvSpPr>
          <p:cNvPr id="2" name="Marcador de texto 8">
            <a:extLst>
              <a:ext uri="{FF2B5EF4-FFF2-40B4-BE49-F238E27FC236}">
                <a16:creationId xmlns:a16="http://schemas.microsoft.com/office/drawing/2014/main" xmlns="" id="{16E81ACD-2C36-9875-2889-09B5B1D7FA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852843"/>
            <a:ext cx="8439111" cy="821803"/>
          </a:xfrm>
        </p:spPr>
        <p:txBody>
          <a:bodyPr lIns="0">
            <a:normAutofit/>
          </a:bodyPr>
          <a:lstStyle>
            <a:lvl1pPr marL="0" indent="0">
              <a:buNone/>
              <a:defRPr sz="54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¡Gracias!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0AE1E3EF-1457-DCF2-9369-605CD2EC622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38200" y="3707698"/>
            <a:ext cx="4090431" cy="367846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www.ternium.com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523096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contenido 7">
            <a:extLst>
              <a:ext uri="{FF2B5EF4-FFF2-40B4-BE49-F238E27FC236}">
                <a16:creationId xmlns:a16="http://schemas.microsoft.com/office/drawing/2014/main" xmlns="" id="{F1D78EF8-92FD-3E36-BD6A-0E10DDB4C8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437330" y="685800"/>
            <a:ext cx="1116495" cy="390431"/>
          </a:xfrm>
          <a:prstGeom prst="rect">
            <a:avLst/>
          </a:prstGeom>
        </p:spPr>
      </p:pic>
      <p:sp>
        <p:nvSpPr>
          <p:cNvPr id="5" name="Marcador de texto 8">
            <a:extLst>
              <a:ext uri="{FF2B5EF4-FFF2-40B4-BE49-F238E27FC236}">
                <a16:creationId xmlns:a16="http://schemas.microsoft.com/office/drawing/2014/main" xmlns="" id="{143F6CCB-C69E-283E-E7E1-DCA08E307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852843"/>
            <a:ext cx="8439111" cy="821803"/>
          </a:xfrm>
        </p:spPr>
        <p:txBody>
          <a:bodyPr lIns="0">
            <a:normAutofit/>
          </a:bodyPr>
          <a:lstStyle>
            <a:lvl1pPr marL="0" indent="0">
              <a:buNone/>
              <a:defRPr sz="54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¡Gracias!</a:t>
            </a: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9842278E-A445-AC31-1351-2624096A0DC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38200" y="3707698"/>
            <a:ext cx="4090431" cy="367846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www.ternium.com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30763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8">
            <a:extLst>
              <a:ext uri="{FF2B5EF4-FFF2-40B4-BE49-F238E27FC236}">
                <a16:creationId xmlns:a16="http://schemas.microsoft.com/office/drawing/2014/main" xmlns="" id="{27FD77C0-B1E4-A6A8-D47B-87EFD16DCB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537193"/>
            <a:ext cx="8439111" cy="2820910"/>
          </a:xfrm>
        </p:spPr>
        <p:txBody>
          <a:bodyPr lIns="0">
            <a:normAutofit/>
          </a:bodyPr>
          <a:lstStyle>
            <a:lvl1pPr marL="0" indent="0">
              <a:buNone/>
              <a:defRPr sz="54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Title goes here</a:t>
            </a:r>
            <a:br>
              <a:rPr lang="x-none" dirty="0"/>
            </a:br>
            <a:r>
              <a:rPr lang="x-none" dirty="0"/>
              <a:t>Arial bold 54</a:t>
            </a:r>
          </a:p>
        </p:txBody>
      </p:sp>
      <p:pic>
        <p:nvPicPr>
          <p:cNvPr id="2" name="Marcador de contenido 7">
            <a:extLst>
              <a:ext uri="{FF2B5EF4-FFF2-40B4-BE49-F238E27FC236}">
                <a16:creationId xmlns:a16="http://schemas.microsoft.com/office/drawing/2014/main" xmlns="" id="{1F64677A-102A-CADA-0C53-7CE5702F02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437330" y="685800"/>
            <a:ext cx="1116495" cy="39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7668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5" y="1589"/>
          <a:ext cx="15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89"/>
                        <a:ext cx="15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-151457"/>
            <a:ext cx="185601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3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/>
              <a:ea typeface="ＭＳ Ｐゴシック" panose="020B0600070205080204" pitchFamily="34" charset="-128"/>
              <a:sym typeface="TradeGothic BoldTwo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D5B981C-A812-DB4D-8F65-F9602419D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683" y="332657"/>
            <a:ext cx="10871360" cy="930275"/>
          </a:xfrm>
        </p:spPr>
        <p:txBody>
          <a:bodyPr/>
          <a:lstStyle>
            <a:lvl1pPr>
              <a:defRPr b="1" i="0">
                <a:latin typeface="TradeGothic BoldTwo" pitchFamily="2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B6F1BB5-F931-1B4B-AE33-F90C331B3B1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501" y="1916833"/>
            <a:ext cx="10852543" cy="2233017"/>
          </a:xfrm>
          <a:prstGeom prst="rect">
            <a:avLst/>
          </a:prstGeom>
        </p:spPr>
        <p:txBody>
          <a:bodyPr lIns="0" tIns="0" rIns="0" bIns="0"/>
          <a:lstStyle>
            <a:lvl1pPr>
              <a:buSzPct val="92000"/>
              <a:defRPr sz="1800" b="0" i="0">
                <a:latin typeface="TradeGothic" pitchFamily="2" charset="0"/>
              </a:defRPr>
            </a:lvl1pPr>
            <a:lvl2pPr>
              <a:defRPr sz="1800" b="0" i="0">
                <a:latin typeface="TradeGothic" pitchFamily="2" charset="0"/>
              </a:defRPr>
            </a:lvl2pPr>
            <a:lvl3pPr>
              <a:defRPr sz="1800" b="0" i="0">
                <a:latin typeface="TradeGothic" pitchFamily="2" charset="0"/>
              </a:defRPr>
            </a:lvl3pPr>
            <a:lvl4pPr>
              <a:defRPr sz="1800" b="0" i="0">
                <a:latin typeface="TradeGothic" pitchFamily="2" charset="0"/>
              </a:defRPr>
            </a:lvl4pPr>
            <a:lvl5pPr>
              <a:defRPr sz="1800" b="0" i="0">
                <a:latin typeface="TradeGothic" pitchFamily="2" charset="0"/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7327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F12BFCA-F441-4890-A7EB-D118A4FF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369484"/>
            <a:ext cx="4185424" cy="170825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/>
            </a:r>
            <a:br>
              <a:rPr lang="es-ES" dirty="0"/>
            </a:br>
            <a:r>
              <a:rPr lang="es-ES" dirty="0"/>
              <a:t>Arial </a:t>
            </a:r>
            <a:br>
              <a:rPr lang="es-ES" dirty="0"/>
            </a:br>
            <a:r>
              <a:rPr lang="es-ES" dirty="0"/>
              <a:t>32</a:t>
            </a:r>
            <a:endParaRPr lang="x-none" dirty="0"/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xmlns="" id="{0CA5A984-1DD0-DEEB-BB14-071BE7C55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57678" y="1371599"/>
            <a:ext cx="811249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1.</a:t>
            </a:r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xmlns="" id="{E3540461-86F2-255B-F8E0-4203D3EC59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71326" y="2135873"/>
            <a:ext cx="811249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2.</a:t>
            </a:r>
          </a:p>
        </p:txBody>
      </p:sp>
      <p:sp>
        <p:nvSpPr>
          <p:cNvPr id="21" name="Marcador de texto 2">
            <a:extLst>
              <a:ext uri="{FF2B5EF4-FFF2-40B4-BE49-F238E27FC236}">
                <a16:creationId xmlns:a16="http://schemas.microsoft.com/office/drawing/2014/main" xmlns="" id="{7FC78C49-D5B4-FB0A-EF9B-9D5DE51B0E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57678" y="2913796"/>
            <a:ext cx="811249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3.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xmlns="" id="{4C4414DC-70A5-4C15-8A75-5F038854D5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57678" y="3705366"/>
            <a:ext cx="811249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4.</a:t>
            </a:r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xmlns="" id="{71E619E9-C2AE-E5BB-56C3-B6AE9DEA7E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57678" y="4537879"/>
            <a:ext cx="811249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5.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F38BE02B-E68C-DC1D-B68D-6B6C12175DC8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482575" y="1538868"/>
            <a:ext cx="4598948" cy="46735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Agenda </a:t>
            </a:r>
            <a:r>
              <a:rPr lang="es-ES" dirty="0" err="1"/>
              <a:t>item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, Arial </a:t>
            </a:r>
            <a:r>
              <a:rPr lang="es-ES" dirty="0" err="1"/>
              <a:t>bold</a:t>
            </a:r>
            <a:r>
              <a:rPr lang="es-ES" dirty="0"/>
              <a:t> 16</a:t>
            </a:r>
          </a:p>
        </p:txBody>
      </p:sp>
      <p:sp>
        <p:nvSpPr>
          <p:cNvPr id="4" name="Marcador de texto 2">
            <a:extLst>
              <a:ext uri="{FF2B5EF4-FFF2-40B4-BE49-F238E27FC236}">
                <a16:creationId xmlns:a16="http://schemas.microsoft.com/office/drawing/2014/main" xmlns="" id="{1E8DDE96-9BAD-7E12-CB82-7086331106AD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499017" y="2297151"/>
            <a:ext cx="4598948" cy="46735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Agenda </a:t>
            </a:r>
            <a:r>
              <a:rPr lang="es-ES" dirty="0" err="1"/>
              <a:t>item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, Arial </a:t>
            </a:r>
            <a:r>
              <a:rPr lang="es-ES" dirty="0" err="1"/>
              <a:t>bold</a:t>
            </a:r>
            <a:r>
              <a:rPr lang="es-ES" dirty="0"/>
              <a:t> 16</a:t>
            </a: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xmlns="" id="{3E26322B-97C4-9111-B1B7-51884A58AA43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487866" y="3077736"/>
            <a:ext cx="4598948" cy="46735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Agenda </a:t>
            </a:r>
            <a:r>
              <a:rPr lang="es-ES" dirty="0" err="1"/>
              <a:t>item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, Arial </a:t>
            </a:r>
            <a:r>
              <a:rPr lang="es-ES" dirty="0" err="1"/>
              <a:t>bold</a:t>
            </a:r>
            <a:r>
              <a:rPr lang="es-ES" dirty="0"/>
              <a:t> 16</a:t>
            </a:r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xmlns="" id="{D0AA5D28-2A7B-8F6E-651B-36B83915FF1C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487866" y="3869472"/>
            <a:ext cx="4598948" cy="46735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Agenda </a:t>
            </a:r>
            <a:r>
              <a:rPr lang="es-ES" dirty="0" err="1"/>
              <a:t>item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, Arial </a:t>
            </a:r>
            <a:r>
              <a:rPr lang="es-ES" dirty="0" err="1"/>
              <a:t>bold</a:t>
            </a:r>
            <a:r>
              <a:rPr lang="es-ES" dirty="0"/>
              <a:t> 16</a:t>
            </a: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48F68CEF-194E-E384-212F-CE30FAFB1354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487866" y="4694662"/>
            <a:ext cx="4598948" cy="46735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6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Agenda </a:t>
            </a:r>
            <a:r>
              <a:rPr lang="es-ES" dirty="0" err="1"/>
              <a:t>item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, Arial </a:t>
            </a:r>
            <a:r>
              <a:rPr lang="es-ES" dirty="0" err="1"/>
              <a:t>bold</a:t>
            </a:r>
            <a:r>
              <a:rPr lang="es-ES" dirty="0"/>
              <a:t> 16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322804C9-51B2-5DDC-7206-0A29C5943A9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Marcador de fecha 30">
            <a:extLst>
              <a:ext uri="{FF2B5EF4-FFF2-40B4-BE49-F238E27FC236}">
                <a16:creationId xmlns:a16="http://schemas.microsoft.com/office/drawing/2014/main" xmlns="" id="{ABF4C29E-D47C-FCDF-845C-FD1E6C247984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34B09D40-2768-4BC1-BAE2-5D8A1234D074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32" name="Marcador de pie de página 31">
            <a:extLst>
              <a:ext uri="{FF2B5EF4-FFF2-40B4-BE49-F238E27FC236}">
                <a16:creationId xmlns:a16="http://schemas.microsoft.com/office/drawing/2014/main" xmlns="" id="{CE24FBB8-FE6A-56CE-A09F-9898FC60088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xmlns="" id="{A4E9B868-EE0C-B3C1-4BAD-EAB903ECCEA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xmlns="" id="{1A71CF09-0E1C-1B14-27AA-6E503291F8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1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F12BFCA-F441-4890-A7EB-D118A4FF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369483"/>
            <a:ext cx="4185424" cy="1715227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/>
            </a:r>
            <a:br>
              <a:rPr lang="es-ES" dirty="0"/>
            </a:br>
            <a:r>
              <a:rPr lang="es-ES" dirty="0"/>
              <a:t>Arial </a:t>
            </a:r>
            <a:br>
              <a:rPr lang="es-ES" dirty="0"/>
            </a:br>
            <a:r>
              <a:rPr lang="es-ES" dirty="0"/>
              <a:t>32</a:t>
            </a:r>
            <a:endParaRPr lang="x-none" dirty="0"/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F8B4094D-D896-AAD0-53AF-89277D04D948}"/>
              </a:ext>
            </a:extLst>
          </p:cNvPr>
          <p:cNvCxnSpPr/>
          <p:nvPr userDrawn="1"/>
        </p:nvCxnSpPr>
        <p:spPr bwMode="auto">
          <a:xfrm>
            <a:off x="4391025" y="1479654"/>
            <a:ext cx="0" cy="8403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Picture Placeholder 20">
            <a:extLst>
              <a:ext uri="{FF2B5EF4-FFF2-40B4-BE49-F238E27FC236}">
                <a16:creationId xmlns:a16="http://schemas.microsoft.com/office/drawing/2014/main" xmlns="" id="{C90A5FEA-50BE-D0A4-4E7F-2467D2A30E7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78299" y="4073413"/>
            <a:ext cx="2207315" cy="13804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xmlns="" id="{68F43E41-2C32-F131-7958-2E3776F41E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71326" y="4073413"/>
            <a:ext cx="2207315" cy="13804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xmlns="" id="{5BB75F48-AC85-3984-9A54-B7587E8BBE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71326" y="1371599"/>
            <a:ext cx="1158098" cy="634621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1.</a:t>
            </a:r>
          </a:p>
        </p:txBody>
      </p:sp>
      <p:sp>
        <p:nvSpPr>
          <p:cNvPr id="24" name="Marcador de texto 2">
            <a:extLst>
              <a:ext uri="{FF2B5EF4-FFF2-40B4-BE49-F238E27FC236}">
                <a16:creationId xmlns:a16="http://schemas.microsoft.com/office/drawing/2014/main" xmlns="" id="{B071F59E-37DB-739D-A868-FFCC7FE23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9216" y="1357952"/>
            <a:ext cx="1210829" cy="64826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2.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xmlns="" id="{2E6E84BD-5C1C-42A3-5F8A-46DB418D934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71325" y="2884077"/>
            <a:ext cx="2207316" cy="1065108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</a:t>
            </a:r>
            <a:br>
              <a:rPr lang="x-none" dirty="0"/>
            </a:br>
            <a:r>
              <a:rPr lang="x-none" dirty="0"/>
              <a:t>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30" name="Marcador de texto 2">
            <a:extLst>
              <a:ext uri="{FF2B5EF4-FFF2-40B4-BE49-F238E27FC236}">
                <a16:creationId xmlns:a16="http://schemas.microsoft.com/office/drawing/2014/main" xmlns="" id="{A318D2AB-C9C4-2BAF-8394-AF0C34E2DA1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555201" y="2841874"/>
            <a:ext cx="2207316" cy="1065107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</a:t>
            </a:r>
            <a:br>
              <a:rPr lang="x-none" dirty="0"/>
            </a:br>
            <a:r>
              <a:rPr lang="x-none" dirty="0"/>
              <a:t>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xmlns="" id="{40DFD32F-36D4-4825-97DC-A89649FDCBD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671325" y="2113227"/>
            <a:ext cx="2207316" cy="64662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xmlns="" id="{1BCD7273-2A48-FECC-CFCE-EB15CCC19BC0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539216" y="2113228"/>
            <a:ext cx="2207316" cy="636336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pt</a:t>
            </a: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xmlns="" id="{6CA70B26-F0A2-7A1B-16C8-3921753C7D8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Marcador de fecha 20">
            <a:extLst>
              <a:ext uri="{FF2B5EF4-FFF2-40B4-BE49-F238E27FC236}">
                <a16:creationId xmlns:a16="http://schemas.microsoft.com/office/drawing/2014/main" xmlns="" id="{99E1793E-6864-7F04-E070-354145B5A9CA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C15A223D-0AD1-4AD4-AE11-C6F60F4F5AA7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2" name="Marcador de pie de página 21">
            <a:extLst>
              <a:ext uri="{FF2B5EF4-FFF2-40B4-BE49-F238E27FC236}">
                <a16:creationId xmlns:a16="http://schemas.microsoft.com/office/drawing/2014/main" xmlns="" id="{79080432-24AC-E951-4DFA-C598540FF37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3" name="Marcador de número de diapositiva 22">
            <a:extLst>
              <a:ext uri="{FF2B5EF4-FFF2-40B4-BE49-F238E27FC236}">
                <a16:creationId xmlns:a16="http://schemas.microsoft.com/office/drawing/2014/main" xmlns="" id="{785FCA16-36BC-7EC5-3837-66F0388F62B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xmlns="" id="{10827CF7-5687-63D0-6045-9BF397FEF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841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Picture.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0">
            <a:extLst>
              <a:ext uri="{FF2B5EF4-FFF2-40B4-BE49-F238E27FC236}">
                <a16:creationId xmlns:a16="http://schemas.microsoft.com/office/drawing/2014/main" xmlns="" id="{4663AAC9-2AEB-E01B-8795-3945D36C1F7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03192" y="21"/>
            <a:ext cx="7427611" cy="62483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xmlns="" id="{6CA70B26-F0A2-7A1B-16C8-3921753C7D8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64143CC1-9A96-7655-0459-AE737CCB1542}"/>
              </a:ext>
            </a:extLst>
          </p:cNvPr>
          <p:cNvSpPr/>
          <p:nvPr userDrawn="1"/>
        </p:nvSpPr>
        <p:spPr bwMode="auto">
          <a:xfrm>
            <a:off x="0" y="0"/>
            <a:ext cx="5330864" cy="6248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 pitchFamily="2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74A9AACB-2ED1-AFD4-6B47-32B0CE4C3D15}"/>
              </a:ext>
            </a:extLst>
          </p:cNvPr>
          <p:cNvSpPr/>
          <p:nvPr userDrawn="1"/>
        </p:nvSpPr>
        <p:spPr bwMode="auto">
          <a:xfrm>
            <a:off x="527673" y="784200"/>
            <a:ext cx="4275519" cy="468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 pitchFamily="2" charset="0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xmlns="" id="{001ABE86-6571-8CF0-77FE-F614CB06C7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199" y="2141034"/>
            <a:ext cx="3666893" cy="2352907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a </a:t>
            </a:r>
            <a:r>
              <a:rPr lang="es-ES" dirty="0" err="1"/>
              <a:t>divider</a:t>
            </a:r>
            <a:r>
              <a:rPr lang="es-ES" dirty="0"/>
              <a:t> </a:t>
            </a:r>
            <a:r>
              <a:rPr lang="es-ES" dirty="0" err="1"/>
              <a:t>slide</a:t>
            </a:r>
            <a:r>
              <a:rPr lang="es-ES" dirty="0"/>
              <a:t>, </a:t>
            </a:r>
            <a:r>
              <a:rPr lang="es-ES" dirty="0" err="1"/>
              <a:t>it</a:t>
            </a:r>
            <a:r>
              <a:rPr lang="es-ES" dirty="0"/>
              <a:t> can be </a:t>
            </a:r>
            <a:r>
              <a:rPr lang="es-ES" dirty="0" err="1"/>
              <a:t>us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open a </a:t>
            </a:r>
            <a:r>
              <a:rPr lang="es-ES" dirty="0" err="1"/>
              <a:t>chapter</a:t>
            </a:r>
            <a:endParaRPr lang="x-none" dirty="0"/>
          </a:p>
        </p:txBody>
      </p:sp>
      <p:sp>
        <p:nvSpPr>
          <p:cNvPr id="21" name="Marcador de fecha 20">
            <a:extLst>
              <a:ext uri="{FF2B5EF4-FFF2-40B4-BE49-F238E27FC236}">
                <a16:creationId xmlns:a16="http://schemas.microsoft.com/office/drawing/2014/main" xmlns="" id="{37E4D6B3-AB7A-A856-2E4F-8AC126D75AF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C7CE4A5-8054-40C8-8B93-EEF33DD0CDF8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2" name="Marcador de pie de página 21">
            <a:extLst>
              <a:ext uri="{FF2B5EF4-FFF2-40B4-BE49-F238E27FC236}">
                <a16:creationId xmlns:a16="http://schemas.microsoft.com/office/drawing/2014/main" xmlns="" id="{90D24FBD-0D87-AEDD-2CF0-11D6E1D8552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3" name="Marcador de número de diapositiva 22">
            <a:extLst>
              <a:ext uri="{FF2B5EF4-FFF2-40B4-BE49-F238E27FC236}">
                <a16:creationId xmlns:a16="http://schemas.microsoft.com/office/drawing/2014/main" xmlns="" id="{11EE983F-A873-4EE9-29FA-2835B0E7B0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766881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ighligh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6">
            <a:extLst>
              <a:ext uri="{FF2B5EF4-FFF2-40B4-BE49-F238E27FC236}">
                <a16:creationId xmlns:a16="http://schemas.microsoft.com/office/drawing/2014/main" xmlns="" id="{0FB5A76C-BC0F-86EB-6A32-7C577E7D472C}"/>
              </a:ext>
            </a:extLst>
          </p:cNvPr>
          <p:cNvSpPr/>
          <p:nvPr userDrawn="1"/>
        </p:nvSpPr>
        <p:spPr bwMode="auto">
          <a:xfrm>
            <a:off x="-5798" y="1198830"/>
            <a:ext cx="12192000" cy="50531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adeGothic BoldTwo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F12BFCA-F441-4890-A7EB-D118A4FF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2736" y="404089"/>
            <a:ext cx="9571746" cy="586102"/>
          </a:xfrm>
        </p:spPr>
        <p:txBody>
          <a:bodyPr lIns="0" tIns="0" anchor="t" anchorCtr="0">
            <a:normAutofit/>
          </a:bodyPr>
          <a:lstStyle>
            <a:lvl1pPr algn="l">
              <a:lnSpc>
                <a:spcPct val="100000"/>
              </a:lnSpc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is is a 3-elements slide + individual pictures</a:t>
            </a:r>
            <a:endParaRPr lang="x-none" dirty="0"/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xmlns="" id="{68F43E41-2C32-F131-7958-2E3776F41E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854" y="1655581"/>
            <a:ext cx="2634888" cy="13804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xmlns="" id="{5BB75F48-AC85-3984-9A54-B7587E8BBE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8537" y="3330281"/>
            <a:ext cx="1158098" cy="634621"/>
          </a:xfrm>
          <a:prstGeom prst="rect">
            <a:avLst/>
          </a:prstGeom>
        </p:spPr>
        <p:txBody>
          <a:bodyPr lIns="0"/>
          <a:lstStyle>
            <a:lvl1pPr marL="9525" indent="0" algn="l">
              <a:buNone/>
              <a:tabLst/>
              <a:defRPr sz="32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</a:lstStyle>
          <a:p>
            <a:pPr lvl="0"/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1.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xmlns="" id="{2E6E84BD-5C1C-42A3-5F8A-46DB418D934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8536" y="4713598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xmlns="" id="{40DFD32F-36D4-4825-97DC-A89649FDCBD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78535" y="4071910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13" name="Picture Placeholder 20">
            <a:extLst>
              <a:ext uri="{FF2B5EF4-FFF2-40B4-BE49-F238E27FC236}">
                <a16:creationId xmlns:a16="http://schemas.microsoft.com/office/drawing/2014/main" xmlns="" id="{37EDBBCF-8806-5310-71C1-F1BED446FC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59506" y="1655581"/>
            <a:ext cx="2634888" cy="13804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4" name="Marcador de texto 2">
            <a:extLst>
              <a:ext uri="{FF2B5EF4-FFF2-40B4-BE49-F238E27FC236}">
                <a16:creationId xmlns:a16="http://schemas.microsoft.com/office/drawing/2014/main" xmlns="" id="{48B94D3F-5D0B-0CBD-3B90-0CA1B86B7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64189" y="3330281"/>
            <a:ext cx="1158098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2.</a:t>
            </a: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xmlns="" id="{30D492DF-5986-3667-E3DC-29F2384E8309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764188" y="4713598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B243B909-3862-96F1-1FD2-EE623F013941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764187" y="4071910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17" name="Picture Placeholder 20">
            <a:extLst>
              <a:ext uri="{FF2B5EF4-FFF2-40B4-BE49-F238E27FC236}">
                <a16:creationId xmlns:a16="http://schemas.microsoft.com/office/drawing/2014/main" xmlns="" id="{D6DE394A-0C9D-AC39-FA03-9B218EA4EED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704449" y="1642329"/>
            <a:ext cx="2634888" cy="13804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18" name="Marcador de texto 2">
            <a:extLst>
              <a:ext uri="{FF2B5EF4-FFF2-40B4-BE49-F238E27FC236}">
                <a16:creationId xmlns:a16="http://schemas.microsoft.com/office/drawing/2014/main" xmlns="" id="{D50630D4-1656-C366-F7C5-1F9DA3049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9132" y="3317029"/>
            <a:ext cx="1158098" cy="63462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3200" b="1" dirty="0">
                <a:solidFill>
                  <a:schemeClr val="accent6"/>
                </a:solidFill>
                <a:latin typeface="Arial"/>
                <a:cs typeface="Arial"/>
              </a:rPr>
              <a:t>03.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xmlns="" id="{2C1B2ED5-E37C-A152-54E1-92225041FB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709131" y="4700346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endParaRPr lang="es-ES" dirty="0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xmlns="" id="{047E27A4-245E-A8CA-019F-79C5F13890B0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8709130" y="4058658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24" name="Marcador de fecha 23">
            <a:extLst>
              <a:ext uri="{FF2B5EF4-FFF2-40B4-BE49-F238E27FC236}">
                <a16:creationId xmlns:a16="http://schemas.microsoft.com/office/drawing/2014/main" xmlns="" id="{7E3EFEDE-AF7C-D5B1-C3E7-FCC4F1BDD738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F6ECD018-A34A-49EB-8A23-64957B87D77F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5" name="Marcador de pie de página 24">
            <a:extLst>
              <a:ext uri="{FF2B5EF4-FFF2-40B4-BE49-F238E27FC236}">
                <a16:creationId xmlns:a16="http://schemas.microsoft.com/office/drawing/2014/main" xmlns="" id="{CEFB83A0-A53F-11F4-FD91-6851E30EA90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6" name="Marcador de número de diapositiva 25">
            <a:extLst>
              <a:ext uri="{FF2B5EF4-FFF2-40B4-BE49-F238E27FC236}">
                <a16:creationId xmlns:a16="http://schemas.microsoft.com/office/drawing/2014/main" xmlns="" id="{F20770A0-C8E7-F145-6350-B76CA3CEBBD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xmlns="" id="{B738F1AC-B8A0-2643-3DFE-AB3929ECB6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874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ighlight 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44103FB7-3011-DC41-F28A-2AB016FD3A20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  <p:sp>
        <p:nvSpPr>
          <p:cNvPr id="8" name="Picture Placeholder 20">
            <a:extLst>
              <a:ext uri="{FF2B5EF4-FFF2-40B4-BE49-F238E27FC236}">
                <a16:creationId xmlns:a16="http://schemas.microsoft.com/office/drawing/2014/main" xmlns="" id="{68F43E41-2C32-F131-7958-2E3776F41E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035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xmlns="" id="{2E6E84BD-5C1C-42A3-5F8A-46DB418D934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5146" y="4329284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 </a:t>
            </a:r>
            <a:r>
              <a:rPr lang="x-none" dirty="0"/>
              <a:t>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endParaRPr lang="es-ES" dirty="0"/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xmlns="" id="{40DFD32F-36D4-4825-97DC-A89649FDCBD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25145" y="3687596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xmlns="" id="{2C1B2ED5-E37C-A152-54E1-92225041FB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775233" y="4316032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</a:t>
            </a:r>
            <a:r>
              <a:rPr lang="x-none" dirty="0"/>
              <a:t>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endParaRPr lang="es-ES" dirty="0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xmlns="" id="{047E27A4-245E-A8CA-019F-79C5F13890B0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8775232" y="3674344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DEF462A6-D837-1214-2F5D-E3B6CCD9F7AE}"/>
              </a:ext>
            </a:extLst>
          </p:cNvPr>
          <p:cNvCxnSpPr/>
          <p:nvPr userDrawn="1"/>
        </p:nvCxnSpPr>
        <p:spPr bwMode="auto">
          <a:xfrm>
            <a:off x="4000086" y="3687595"/>
            <a:ext cx="0" cy="8403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xmlns="" id="{89971C50-0712-C03C-7E57-7CA5B738B8EC}"/>
              </a:ext>
            </a:extLst>
          </p:cNvPr>
          <p:cNvCxnSpPr/>
          <p:nvPr userDrawn="1"/>
        </p:nvCxnSpPr>
        <p:spPr bwMode="auto">
          <a:xfrm>
            <a:off x="8095008" y="3684628"/>
            <a:ext cx="0" cy="8403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D96A6EA4-56E9-399C-6064-ECCA18C3D68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B5E5D007-3CDB-D289-82FF-3B4563ABE960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764188" y="4329283"/>
            <a:ext cx="2634888" cy="119426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>
                <a:solidFill>
                  <a:srgbClr val="5F5F5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Insert your text here. 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of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he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printing</a:t>
            </a:r>
            <a:r>
              <a:rPr lang="es-ES" dirty="0">
                <a:effectLst/>
              </a:rPr>
              <a:t> and </a:t>
            </a:r>
            <a:r>
              <a:rPr lang="es-ES" dirty="0" err="1">
                <a:effectLst/>
              </a:rPr>
              <a:t>typesetting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industry</a:t>
            </a:r>
            <a:r>
              <a:rPr lang="es-ES" dirty="0">
                <a:effectLst/>
              </a:rPr>
              <a:t>. </a:t>
            </a:r>
            <a:r>
              <a:rPr lang="x-none" dirty="0"/>
              <a:t>Lorem ipsum i</a:t>
            </a:r>
            <a:r>
              <a:rPr lang="es-ES" dirty="0">
                <a:effectLst/>
              </a:rPr>
              <a:t>s </a:t>
            </a:r>
            <a:r>
              <a:rPr lang="es-ES" dirty="0" err="1">
                <a:effectLst/>
              </a:rPr>
              <a:t>simpl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dummy</a:t>
            </a:r>
            <a:r>
              <a:rPr lang="es-ES" dirty="0">
                <a:effectLst/>
              </a:rPr>
              <a:t> </a:t>
            </a:r>
            <a:r>
              <a:rPr lang="es-ES" dirty="0" err="1">
                <a:effectLst/>
              </a:rPr>
              <a:t>text</a:t>
            </a:r>
            <a:r>
              <a:rPr lang="es-ES" dirty="0">
                <a:effectLst/>
              </a:rPr>
              <a:t> </a:t>
            </a:r>
            <a:endParaRPr lang="es-ES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EF8A581A-B37B-BC89-B6A0-F1337D5D104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764187" y="3687595"/>
            <a:ext cx="2634889" cy="53468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400" b="1" i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goes</a:t>
            </a:r>
            <a:r>
              <a:rPr lang="es-ES" dirty="0"/>
              <a:t> </a:t>
            </a:r>
            <a:r>
              <a:rPr lang="es-ES" dirty="0" err="1"/>
              <a:t>here</a:t>
            </a:r>
            <a:r>
              <a:rPr lang="es-ES" dirty="0"/>
              <a:t> Arial </a:t>
            </a:r>
            <a:r>
              <a:rPr lang="es-ES" dirty="0" err="1"/>
              <a:t>bold</a:t>
            </a:r>
            <a:r>
              <a:rPr lang="es-ES" dirty="0"/>
              <a:t> 14 pt</a:t>
            </a:r>
          </a:p>
        </p:txBody>
      </p:sp>
      <p:sp>
        <p:nvSpPr>
          <p:cNvPr id="22" name="Marcador de fecha 21">
            <a:extLst>
              <a:ext uri="{FF2B5EF4-FFF2-40B4-BE49-F238E27FC236}">
                <a16:creationId xmlns:a16="http://schemas.microsoft.com/office/drawing/2014/main" xmlns="" id="{09E0998F-2B34-70BF-8E3C-4059BB54D6F6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2757BF4E-FD66-41B1-8D51-82B917BA3824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3" name="Marcador de pie de página 22">
            <a:extLst>
              <a:ext uri="{FF2B5EF4-FFF2-40B4-BE49-F238E27FC236}">
                <a16:creationId xmlns:a16="http://schemas.microsoft.com/office/drawing/2014/main" xmlns="" id="{DAD2AE4D-9C5D-95B6-ED56-A75B3F707FD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4" name="Marcador de número de diapositiva 23">
            <a:extLst>
              <a:ext uri="{FF2B5EF4-FFF2-40B4-BE49-F238E27FC236}">
                <a16:creationId xmlns:a16="http://schemas.microsoft.com/office/drawing/2014/main" xmlns="" id="{A6EC5DD2-CF92-D9E3-9D1A-5A310625FF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929747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8">
            <a:extLst>
              <a:ext uri="{FF2B5EF4-FFF2-40B4-BE49-F238E27FC236}">
                <a16:creationId xmlns:a16="http://schemas.microsoft.com/office/drawing/2014/main" xmlns="" id="{6D878632-8CFE-D41A-0113-90A5C79280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506558"/>
            <a:ext cx="8439111" cy="1429821"/>
          </a:xfrm>
        </p:spPr>
        <p:txBody>
          <a:bodyPr lIns="0">
            <a:normAutofit/>
          </a:bodyPr>
          <a:lstStyle>
            <a:lvl1pPr marL="0" indent="0">
              <a:buNone/>
              <a:defRPr sz="4000" b="1" i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This is a big statement slide,</a:t>
            </a:r>
            <a:br>
              <a:rPr lang="x-none" dirty="0"/>
            </a:br>
            <a:r>
              <a:rPr lang="x-none" dirty="0"/>
              <a:t>It can also be used for quotes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3958A035-A61C-9B48-9EEF-61C8538567E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Marcador de fecha 19">
            <a:extLst>
              <a:ext uri="{FF2B5EF4-FFF2-40B4-BE49-F238E27FC236}">
                <a16:creationId xmlns:a16="http://schemas.microsoft.com/office/drawing/2014/main" xmlns="" id="{D03A1811-89FA-2825-988C-E83CBDC3B4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FEC057-E631-43EC-9FD6-3F5A7AA29DD5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xmlns="" id="{778737E2-8D47-E697-1E86-E146FE424E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22" name="Marcador de número de diapositiva 21">
            <a:extLst>
              <a:ext uri="{FF2B5EF4-FFF2-40B4-BE49-F238E27FC236}">
                <a16:creationId xmlns:a16="http://schemas.microsoft.com/office/drawing/2014/main" xmlns="" id="{03442C4D-5743-FCE9-2B5D-BB5242081D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xmlns="" id="{CFE17D5F-BB57-84C2-B14C-18F669CDBC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606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0">
            <a:extLst>
              <a:ext uri="{FF2B5EF4-FFF2-40B4-BE49-F238E27FC236}">
                <a16:creationId xmlns:a16="http://schemas.microsoft.com/office/drawing/2014/main" xmlns="" id="{51A0C2C4-9FFA-620B-68B3-5B72236C2E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20458" y="0"/>
            <a:ext cx="12212457" cy="62483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en el icono para agregar una </a:t>
            </a:r>
            <a:r>
              <a:rPr lang="es-ES" dirty="0" err="1"/>
              <a:t>image</a:t>
            </a:r>
            <a:endParaRPr lang="en-U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3958A035-A61C-9B48-9EEF-61C8538567E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2484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Marcador de texto 8">
            <a:extLst>
              <a:ext uri="{FF2B5EF4-FFF2-40B4-BE49-F238E27FC236}">
                <a16:creationId xmlns:a16="http://schemas.microsoft.com/office/drawing/2014/main" xmlns="" id="{FCBE02AF-E6D0-54EA-AFFF-02E01E84F3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2506558"/>
            <a:ext cx="8439111" cy="1429821"/>
          </a:xfrm>
        </p:spPr>
        <p:txBody>
          <a:bodyPr lIns="0">
            <a:norm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x-none" dirty="0"/>
              <a:t>This is a big statement slide,</a:t>
            </a:r>
            <a:br>
              <a:rPr lang="x-none" dirty="0"/>
            </a:br>
            <a:r>
              <a:rPr lang="x-none" dirty="0"/>
              <a:t>It can also be used for quotes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4F9F11E4-2EBB-F8A6-8F9A-53C0503F3B5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B036EBE-0829-4F1C-9F03-C0A9AE93B1AE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A9A20F6-51FA-35A1-0DF5-BB96C3ED64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pt-BR"/>
              <a:t>Tax Committee</a:t>
            </a:r>
            <a:endParaRPr lang="x-none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80DDD9D4-350F-69B6-7569-F9D3BDD45D1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xmlns="" id="{99D83567-A22E-3FF0-1D3E-7C78C9B1C8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1913" y="387350"/>
            <a:ext cx="275071" cy="30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644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C7675B2F-9942-531C-F1BB-DF9ED8DBEE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0805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24" imgW="423" imgH="423" progId="TCLayout.ActiveDocument.1">
                  <p:embed/>
                </p:oleObj>
              </mc:Choice>
              <mc:Fallback>
                <p:oleObj name="Slide do think-cell" r:id="rId24" imgW="423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C7675B2F-9942-531C-F1BB-DF9ED8DBE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4C6D1C52-5F47-B208-669A-5490EA39E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x-none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43AD979F-D30E-C1FE-F510-918CAC13D1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x-none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7F40F746-0CFE-6091-8A9B-90DB1FFE12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62977" y="6356350"/>
            <a:ext cx="14087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7A4928D-DD76-400F-8918-D0760CF89CE6}" type="datetime1">
              <a:rPr lang="es-ES_tradnl" smtClean="0"/>
              <a:t>27/05/2025</a:t>
            </a:fld>
            <a:endParaRPr lang="x-none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BBE1620B-244D-FD60-FAED-67FBBC246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71712" y="6356350"/>
            <a:ext cx="882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4EBB550-E591-2741-BB92-B202D7E4521F}" type="slidenum">
              <a:rPr lang="x-none" smtClean="0"/>
              <a:pPr/>
              <a:t>‹nº›</a:t>
            </a:fld>
            <a:endParaRPr lang="x-none" dirty="0"/>
          </a:p>
        </p:txBody>
      </p:sp>
      <p:sp>
        <p:nvSpPr>
          <p:cNvPr id="15" name="Marcador de pie de página 14">
            <a:extLst>
              <a:ext uri="{FF2B5EF4-FFF2-40B4-BE49-F238E27FC236}">
                <a16:creationId xmlns:a16="http://schemas.microsoft.com/office/drawing/2014/main" xmlns="" id="{FDF10DE0-9925-6391-15BC-F0AF251052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7679675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Tax Committe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217707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1" r:id="rId2"/>
    <p:sldLayoutId id="2147483649" r:id="rId3"/>
    <p:sldLayoutId id="2147483660" r:id="rId4"/>
    <p:sldLayoutId id="2147483674" r:id="rId5"/>
    <p:sldLayoutId id="2147483662" r:id="rId6"/>
    <p:sldLayoutId id="2147483663" r:id="rId7"/>
    <p:sldLayoutId id="2147483651" r:id="rId8"/>
    <p:sldLayoutId id="2147483677" r:id="rId9"/>
    <p:sldLayoutId id="2147483664" r:id="rId10"/>
    <p:sldLayoutId id="2147483665" r:id="rId11"/>
    <p:sldLayoutId id="2147483666" r:id="rId12"/>
    <p:sldLayoutId id="2147483667" r:id="rId13"/>
    <p:sldLayoutId id="2147483670" r:id="rId14"/>
    <p:sldLayoutId id="2147483671" r:id="rId15"/>
    <p:sldLayoutId id="2147483678" r:id="rId16"/>
    <p:sldLayoutId id="2147483672" r:id="rId17"/>
    <p:sldLayoutId id="2147483679" r:id="rId18"/>
    <p:sldLayoutId id="2147483676" r:id="rId19"/>
    <p:sldLayoutId id="2147483680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FF33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5F5F5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5F5F5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5F5F5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F5F5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F5F5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xmlns="" id="{5C0D12BD-E387-FB29-006B-51DBFB35B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4">
            <a:extLst>
              <a:ext uri="{FF2B5EF4-FFF2-40B4-BE49-F238E27FC236}">
                <a16:creationId xmlns:a16="http://schemas.microsoft.com/office/drawing/2014/main" xmlns="" id="{E5FA9AE0-304D-CE46-4897-A05B1ED93E41}"/>
              </a:ext>
            </a:extLst>
          </p:cNvPr>
          <p:cNvSpPr txBox="1">
            <a:spLocks/>
          </p:cNvSpPr>
          <p:nvPr/>
        </p:nvSpPr>
        <p:spPr>
          <a:xfrm>
            <a:off x="431957" y="3135949"/>
            <a:ext cx="11328086" cy="5861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FF33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>
                <a:solidFill>
                  <a:schemeClr val="accent5"/>
                </a:solidFill>
              </a:rPr>
              <a:t>ICMS </a:t>
            </a:r>
            <a:r>
              <a:rPr lang="pt-BR" dirty="0">
                <a:solidFill>
                  <a:schemeClr val="accent5"/>
                </a:solidFill>
                <a:sym typeface="Wingdings" panose="05000000000000000000" pitchFamily="2" charset="2"/>
              </a:rPr>
              <a:t>e Reforma Tributária</a:t>
            </a:r>
          </a:p>
          <a:p>
            <a:r>
              <a:rPr lang="pt-BR" b="0" dirty="0">
                <a:solidFill>
                  <a:schemeClr val="accent5"/>
                </a:solidFill>
                <a:sym typeface="Wingdings" panose="05000000000000000000" pitchFamily="2" charset="2"/>
              </a:rPr>
              <a:t>Situação dos saldos credores acumulados – PLP 108/2024</a:t>
            </a:r>
            <a:endParaRPr lang="pt-BR" b="0" dirty="0">
              <a:solidFill>
                <a:schemeClr val="accent5"/>
              </a:solidFill>
            </a:endParaRPr>
          </a:p>
        </p:txBody>
      </p:sp>
      <p:pic>
        <p:nvPicPr>
          <p:cNvPr id="2" name="Imagen 4">
            <a:extLst>
              <a:ext uri="{FF2B5EF4-FFF2-40B4-BE49-F238E27FC236}">
                <a16:creationId xmlns:a16="http://schemas.microsoft.com/office/drawing/2014/main" xmlns="" id="{63E92B55-B62A-5BAC-4D54-D01D33BCFD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250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xmlns="" id="{D8EAF289-3B67-CB6A-6C56-F3D435697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4">
            <a:extLst>
              <a:ext uri="{FF2B5EF4-FFF2-40B4-BE49-F238E27FC236}">
                <a16:creationId xmlns:a16="http://schemas.microsoft.com/office/drawing/2014/main" xmlns="" id="{29614F77-6068-46AC-8642-E002F814A5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xmlns="" id="{CBFB8D4D-9B55-FD82-3F49-40F7407FD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000" y="1698421"/>
            <a:ext cx="6750000" cy="45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949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xmlns="" id="{53EEFDC1-5E9B-C0EC-0EF6-DF328F48F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xmlns="" id="{5EDE6EC0-981A-CCAA-FED4-EE3BF68267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264350"/>
              </p:ext>
            </p:extLst>
          </p:nvPr>
        </p:nvGraphicFramePr>
        <p:xfrm>
          <a:off x="201476" y="329321"/>
          <a:ext cx="9527449" cy="6096000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9527449">
                  <a:extLst>
                    <a:ext uri="{9D8B030D-6E8A-4147-A177-3AD203B41FA5}">
                      <a16:colId xmlns:a16="http://schemas.microsoft.com/office/drawing/2014/main" xmlns="" val="2812470522"/>
                    </a:ext>
                  </a:extLst>
                </a:gridCol>
              </a:tblGrid>
              <a:tr h="2558567">
                <a:tc>
                  <a:txBody>
                    <a:bodyPr/>
                    <a:lstStyle/>
                    <a:p>
                      <a:pPr marL="549275" indent="-285750" algn="just">
                        <a:buFont typeface="Wingdings" panose="05000000000000000000" pitchFamily="2" charset="2"/>
                        <a:buChar char="v"/>
                      </a:pPr>
                      <a:endParaRPr lang="pt-BR" sz="1600" b="1" u="none" strike="noStrike" kern="1200" baseline="0" dirty="0">
                        <a:solidFill>
                          <a:schemeClr val="dk1"/>
                        </a:solidFill>
                      </a:endParaRPr>
                    </a:p>
                    <a:p>
                      <a:pPr marL="265113" indent="0" algn="l"/>
                      <a:r>
                        <a:rPr lang="pt-BR" sz="1800" b="1" u="sng" strike="noStrike" kern="1200" baseline="0" dirty="0">
                          <a:solidFill>
                            <a:schemeClr val="dk1"/>
                          </a:solidFill>
                        </a:rPr>
                        <a:t>I.     Homologação dos saldos credores (ICMS</a:t>
                      </a:r>
                      <a:r>
                        <a:rPr lang="pt-BR" sz="1800" b="1" u="none" strike="noStrike" kern="1200" baseline="0" dirty="0">
                          <a:solidFill>
                            <a:schemeClr val="dk1"/>
                          </a:solidFill>
                        </a:rPr>
                        <a:t>)</a:t>
                      </a:r>
                    </a:p>
                    <a:p>
                      <a:pPr marL="263525" indent="0" algn="just">
                        <a:buFont typeface="Wingdings" panose="05000000000000000000" pitchFamily="2" charset="2"/>
                        <a:buNone/>
                      </a:pPr>
                      <a:endParaRPr lang="pt-BR" sz="1600" b="1" u="none" strike="noStrike" kern="1200" baseline="0" dirty="0">
                        <a:solidFill>
                          <a:schemeClr val="dk1"/>
                        </a:solidFill>
                      </a:endParaRP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v"/>
                      </a:pPr>
                      <a:r>
                        <a:rPr lang="pt-BR" sz="1600" b="1" u="none" strike="noStrike" kern="1200" baseline="0" dirty="0">
                          <a:solidFill>
                            <a:schemeClr val="dk1"/>
                          </a:solidFill>
                        </a:rPr>
                        <a:t>Prazo para manifestação dos Estados</a:t>
                      </a:r>
                    </a:p>
                    <a:p>
                      <a:pPr marL="1274763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u="none" strike="noStrike" kern="1200" baseline="0" dirty="0">
                          <a:solidFill>
                            <a:schemeClr val="dk1"/>
                          </a:solidFill>
                        </a:rPr>
                        <a:t>Redação atual: 12 meses, prorrogável por igual período</a:t>
                      </a:r>
                    </a:p>
                    <a:p>
                      <a:pPr marL="1274763" indent="-285750" algn="just">
                        <a:buFont typeface="Wingdings" panose="05000000000000000000" pitchFamily="2" charset="2"/>
                        <a:buChar char="ü"/>
                      </a:pPr>
                      <a:r>
                        <a:rPr lang="pt-BR" sz="1600" b="1" u="none" strike="noStrike" kern="1200" baseline="0" dirty="0">
                          <a:solidFill>
                            <a:srgbClr val="2170B3"/>
                          </a:solidFill>
                        </a:rPr>
                        <a:t>Proposta AEB: Prazo de 90 dias, prorrogável por igual período</a:t>
                      </a: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§"/>
                      </a:pPr>
                      <a:endParaRPr lang="pt-BR" sz="1600" b="1" u="none" strike="noStrike" kern="1200" baseline="0" dirty="0">
                        <a:solidFill>
                          <a:srgbClr val="2170B3"/>
                        </a:solidFill>
                      </a:endParaRP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v"/>
                      </a:pPr>
                      <a:r>
                        <a:rPr lang="pt-BR" sz="1600" b="1" u="none" strike="noStrike" kern="1200" baseline="0" dirty="0">
                          <a:solidFill>
                            <a:schemeClr val="dk1"/>
                          </a:solidFill>
                        </a:rPr>
                        <a:t>Atualização monetária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u="none" strike="noStrike" kern="1200" baseline="0" dirty="0">
                          <a:solidFill>
                            <a:schemeClr val="dk1"/>
                          </a:solidFill>
                        </a:rPr>
                        <a:t>Redação atual: IPCA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ü"/>
                      </a:pPr>
                      <a:r>
                        <a:rPr lang="pt-BR" sz="1600" b="1" u="none" strike="noStrike" kern="1200" baseline="0" dirty="0">
                          <a:solidFill>
                            <a:srgbClr val="2170B3"/>
                          </a:solidFill>
                        </a:rPr>
                        <a:t>Proposta AEB: SELIC</a:t>
                      </a:r>
                    </a:p>
                    <a:p>
                      <a:pPr marL="825500" indent="-285750" algn="just">
                        <a:buFont typeface="Wingdings" panose="05000000000000000000" pitchFamily="2" charset="2"/>
                        <a:buChar char="§"/>
                      </a:pPr>
                      <a:endParaRPr lang="pt-BR" sz="1600" b="1" u="none" strike="noStrike" kern="1200" baseline="0" dirty="0">
                        <a:solidFill>
                          <a:srgbClr val="2170B3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12691460"/>
                  </a:ext>
                </a:extLst>
              </a:tr>
              <a:tr h="2680118">
                <a:tc>
                  <a:txBody>
                    <a:bodyPr/>
                    <a:lstStyle/>
                    <a:p>
                      <a:pPr marL="2651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1800" b="1" u="sng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.     Ressarcimento dos saldos credores homologados (ICMS</a:t>
                      </a:r>
                      <a:r>
                        <a:rPr lang="pt-BR" sz="1800" b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600" b="1" u="none" strike="noStrike" kern="1200" baseline="0" dirty="0">
                        <a:solidFill>
                          <a:schemeClr val="dk1"/>
                        </a:solidFill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lang="pt-BR" sz="1600" b="0" u="none" strike="noStrike" kern="1200" baseline="0" dirty="0">
                        <a:solidFill>
                          <a:srgbClr val="2170B3"/>
                        </a:solidFill>
                      </a:endParaRP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v"/>
                      </a:pPr>
                      <a:r>
                        <a:rPr lang="pt-BR" sz="1600" b="1" u="none" strike="noStrike" kern="1200" baseline="0" dirty="0">
                          <a:solidFill>
                            <a:schemeClr val="dk1"/>
                          </a:solidFill>
                        </a:rPr>
                        <a:t>Prazo para devolução em espécie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u="none" strike="noStrike" kern="1200" baseline="0" dirty="0">
                          <a:solidFill>
                            <a:schemeClr val="dk1"/>
                          </a:solidFill>
                        </a:rPr>
                        <a:t>Redação atual: 20 anos – Jan/2033 a dez/2052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ü"/>
                      </a:pPr>
                      <a:r>
                        <a:rPr lang="pt-BR" sz="1600" b="1" u="none" strike="noStrike" kern="1200" baseline="0" dirty="0">
                          <a:solidFill>
                            <a:srgbClr val="2170B3"/>
                          </a:solidFill>
                        </a:rPr>
                        <a:t>Proposta AEB: 10 anos – 120 parcelas mensais, iguais e sucessivas</a:t>
                      </a:r>
                    </a:p>
                    <a:p>
                      <a:pPr marL="825500" indent="-285750" algn="just">
                        <a:buFont typeface="Wingdings" panose="05000000000000000000" pitchFamily="2" charset="2"/>
                        <a:buChar char="§"/>
                      </a:pPr>
                      <a:endParaRPr lang="pt-BR" sz="1600" b="1" u="none" strike="noStrike" kern="1200" baseline="0" dirty="0">
                        <a:solidFill>
                          <a:srgbClr val="2170B3"/>
                        </a:solidFill>
                      </a:endParaRP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v"/>
                      </a:pPr>
                      <a:r>
                        <a:rPr lang="pt-BR" sz="1600" b="1" u="none" strike="noStrike" kern="1200" baseline="0" dirty="0">
                          <a:solidFill>
                            <a:schemeClr val="dk1"/>
                          </a:solidFill>
                        </a:rPr>
                        <a:t>Antecipação em caso de aumento de arrecadação do IBS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u="none" strike="noStrike" kern="1200" baseline="0" dirty="0">
                          <a:solidFill>
                            <a:schemeClr val="dk1"/>
                          </a:solidFill>
                        </a:rPr>
                        <a:t>Redação atual: Facultativa, a partir de 2034</a:t>
                      </a:r>
                    </a:p>
                    <a:p>
                      <a:pPr marL="1339850" indent="-285750" algn="just">
                        <a:buFont typeface="Wingdings" panose="05000000000000000000" pitchFamily="2" charset="2"/>
                        <a:buChar char="ü"/>
                      </a:pPr>
                      <a:r>
                        <a:rPr lang="pt-BR" sz="1600" b="1" u="none" strike="noStrike" kern="1200" baseline="0" dirty="0">
                          <a:solidFill>
                            <a:srgbClr val="2170B3"/>
                          </a:solidFill>
                        </a:rPr>
                        <a:t>Proposta AEB: Obrigatória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pt-BR" sz="1600" b="0" u="none" strike="noStrike" kern="1200" baseline="0" dirty="0">
                        <a:solidFill>
                          <a:schemeClr val="dk1"/>
                        </a:solidFill>
                      </a:endParaRPr>
                    </a:p>
                    <a:p>
                      <a:pPr marL="989013" indent="-285750" algn="just">
                        <a:buFont typeface="Wingdings" panose="05000000000000000000" pitchFamily="2" charset="2"/>
                        <a:buChar char="v"/>
                      </a:pPr>
                      <a:r>
                        <a:rPr lang="pt-BR" sz="1600" b="1" u="none" strike="noStrike" kern="1200" baseline="0" dirty="0">
                          <a:solidFill>
                            <a:schemeClr val="dk1"/>
                          </a:solidFill>
                        </a:rPr>
                        <a:t>Securitização dos saldos credores</a:t>
                      </a:r>
                    </a:p>
                    <a:p>
                      <a:pPr marL="125730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u="none" strike="noStrike" kern="1200" baseline="0" dirty="0">
                          <a:solidFill>
                            <a:schemeClr val="dk1"/>
                          </a:solidFill>
                        </a:rPr>
                        <a:t>Redação atual: Não há </a:t>
                      </a:r>
                    </a:p>
                    <a:p>
                      <a:pPr marL="1257300" indent="-285750" algn="just">
                        <a:buFont typeface="Wingdings" panose="05000000000000000000" pitchFamily="2" charset="2"/>
                        <a:buChar char="ü"/>
                      </a:pPr>
                      <a:r>
                        <a:rPr lang="pt-BR" sz="1600" b="1" u="none" strike="noStrike" kern="1200" baseline="0" dirty="0">
                          <a:solidFill>
                            <a:srgbClr val="2170B3"/>
                          </a:solidFill>
                        </a:rPr>
                        <a:t>Proposta AEB: Previsão legal (maior liquidez e novas alternativas de financiamento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2329441"/>
                  </a:ext>
                </a:extLst>
              </a:tr>
            </a:tbl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xmlns="" id="{26400B0B-A026-2A49-41F6-B05C9E7B7A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276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5PkeeoSZKxo3L9P3hpvw"/>
</p:tagLst>
</file>

<file path=ppt/theme/theme1.xml><?xml version="1.0" encoding="utf-8"?>
<a:theme xmlns:a="http://schemas.openxmlformats.org/drawingml/2006/main" name="Tema de Office">
  <a:themeElements>
    <a:clrScheme name="TerniumColors">
      <a:dk1>
        <a:srgbClr val="666666"/>
      </a:dk1>
      <a:lt1>
        <a:srgbClr val="FFFFFF"/>
      </a:lt1>
      <a:dk2>
        <a:srgbClr val="666666"/>
      </a:dk2>
      <a:lt2>
        <a:srgbClr val="D3D3D3"/>
      </a:lt2>
      <a:accent1>
        <a:srgbClr val="FF9900"/>
      </a:accent1>
      <a:accent2>
        <a:srgbClr val="666666"/>
      </a:accent2>
      <a:accent3>
        <a:srgbClr val="01688A"/>
      </a:accent3>
      <a:accent4>
        <a:srgbClr val="00B351"/>
      </a:accent4>
      <a:accent5>
        <a:srgbClr val="003366"/>
      </a:accent5>
      <a:accent6>
        <a:srgbClr val="FF3300"/>
      </a:accent6>
      <a:hlink>
        <a:srgbClr val="485458"/>
      </a:hlink>
      <a:folHlink>
        <a:srgbClr val="0033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TX" id="{A45C06F3-4F70-D14D-A4E6-DA5DA15BC634}" vid="{511B8676-E8A9-4D4A-9406-C1D8AE93697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b30aa55-5597-4644-ae90-ae210ff4a164">CZ4RUWN7PAMZ-650109011-90</_dlc_DocId>
    <_dlc_DocIdUrl xmlns="0b30aa55-5597-4644-ae90-ae210ff4a164">
      <Url>https://ternium.sharepoint.com/sites/intrabrand/_layouts/15/DocIdRedir.aspx?ID=CZ4RUWN7PAMZ-650109011-90</Url>
      <Description>CZ4RUWN7PAMZ-650109011-90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8B4DD664B1ABB4A881D14B334F0C426" ma:contentTypeVersion="3" ma:contentTypeDescription="Crear nuevo documento." ma:contentTypeScope="" ma:versionID="38315085f9e7bee7b3e3a66c2fede173">
  <xsd:schema xmlns:xsd="http://www.w3.org/2001/XMLSchema" xmlns:xs="http://www.w3.org/2001/XMLSchema" xmlns:p="http://schemas.microsoft.com/office/2006/metadata/properties" xmlns:ns2="0b30aa55-5597-4644-ae90-ae210ff4a164" xmlns:ns3="307ac963-2367-436b-b8ff-457135323c3c" targetNamespace="http://schemas.microsoft.com/office/2006/metadata/properties" ma:root="true" ma:fieldsID="e1903e8cb9c4455943021641ff440e1e" ns2:_="" ns3:_="">
    <xsd:import namespace="0b30aa55-5597-4644-ae90-ae210ff4a164"/>
    <xsd:import namespace="307ac963-2367-436b-b8ff-457135323c3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30aa55-5597-4644-ae90-ae210ff4a16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alor de Id. de documento" ma:description="El valor del identificador de documento asignado a este elemento." ma:internalName="_dlc_DocId" ma:readOnly="true">
      <xsd:simpleType>
        <xsd:restriction base="dms:Text"/>
      </xsd:simpleType>
    </xsd:element>
    <xsd:element name="_dlc_DocIdUrl" ma:index="9" nillable="true" ma:displayName="Id. de documento" ma:description="Vínculo permanente a este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ac963-2367-436b-b8ff-457135323c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16DF73-03E8-4EC4-AC27-463735027BF6}">
  <ds:schemaRefs>
    <ds:schemaRef ds:uri="http://purl.org/dc/elements/1.1/"/>
    <ds:schemaRef ds:uri="307ac963-2367-436b-b8ff-457135323c3c"/>
    <ds:schemaRef ds:uri="http://schemas.microsoft.com/office/2006/metadata/properties"/>
    <ds:schemaRef ds:uri="http://purl.org/dc/terms/"/>
    <ds:schemaRef ds:uri="0b30aa55-5597-4644-ae90-ae210ff4a164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067C841-6478-4E5C-963E-4F58EFAD7BD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091C0F6-57CE-4779-889D-E077C00CDD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30aa55-5597-4644-ae90-ae210ff4a164"/>
    <ds:schemaRef ds:uri="307ac963-2367-436b-b8ff-457135323c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E4D7BC5-1F7E-4D4A-B6F5-715C3BF6DD9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a4b5b72-704f-43e8-88a7-720311750a10}" enabled="0" method="" siteId="{ba4b5b72-704f-43e8-88a7-720311750a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306</TotalTime>
  <Words>141</Words>
  <Application>Microsoft Office PowerPoint</Application>
  <PresentationFormat>Widescreen</PresentationFormat>
  <Paragraphs>26</Paragraphs>
  <Slides>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11" baseType="lpstr">
      <vt:lpstr>ＭＳ Ｐゴシック</vt:lpstr>
      <vt:lpstr>Arial</vt:lpstr>
      <vt:lpstr>Calibri</vt:lpstr>
      <vt:lpstr>TradeGothic</vt:lpstr>
      <vt:lpstr>TradeGothic BoldTwo</vt:lpstr>
      <vt:lpstr>Wingdings</vt:lpstr>
      <vt:lpstr>Tema de Office</vt:lpstr>
      <vt:lpstr>Slide do think-cell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UÑEZ G. Maria</dc:creator>
  <cp:lastModifiedBy>Conta da Microsoft</cp:lastModifiedBy>
  <cp:revision>222</cp:revision>
  <dcterms:created xsi:type="dcterms:W3CDTF">2023-05-12T10:03:21Z</dcterms:created>
  <dcterms:modified xsi:type="dcterms:W3CDTF">2025-05-27T10:5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B4DD664B1ABB4A881D14B334F0C426</vt:lpwstr>
  </property>
  <property fmtid="{D5CDD505-2E9C-101B-9397-08002B2CF9AE}" pid="3" name="_dlc_DocIdItemGuid">
    <vt:lpwstr>b8a92ab2-2fd1-4860-9bcb-2bac59642c60</vt:lpwstr>
  </property>
</Properties>
</file>